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4008" r:id="rId5"/>
    <p:sldMasterId id="2147484037" r:id="rId6"/>
    <p:sldMasterId id="2147484066" r:id="rId7"/>
  </p:sldMasterIdLst>
  <p:notesMasterIdLst>
    <p:notesMasterId r:id="rId15"/>
  </p:notesMasterIdLst>
  <p:handoutMasterIdLst>
    <p:handoutMasterId r:id="rId16"/>
  </p:handoutMasterIdLst>
  <p:sldIdLst>
    <p:sldId id="412" r:id="rId8"/>
    <p:sldId id="413" r:id="rId9"/>
    <p:sldId id="414" r:id="rId10"/>
    <p:sldId id="415" r:id="rId11"/>
    <p:sldId id="416" r:id="rId12"/>
    <p:sldId id="417" r:id="rId13"/>
    <p:sldId id="259" r:id="rId14"/>
  </p:sldIdLst>
  <p:sldSz cx="12192000" cy="6858000"/>
  <p:notesSz cx="6805613" cy="993933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cio" id="{BABB1BD5-56B2-4975-8FAA-462D3E8CDE85}">
          <p14:sldIdLst>
            <p14:sldId id="412"/>
          </p14:sldIdLst>
        </p14:section>
        <p14:section name="Conceptos Introductorios" id="{5B2DD161-9F7C-43D6-96C8-A2EA94D54920}">
          <p14:sldIdLst>
            <p14:sldId id="413"/>
            <p14:sldId id="414"/>
            <p14:sldId id="415"/>
            <p14:sldId id="416"/>
            <p14:sldId id="417"/>
          </p14:sldIdLst>
        </p14:section>
        <p14:section name="Fin" id="{AC1389F8-B17E-4C91-BD04-20D8D67C0140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178" userDrawn="1">
          <p15:clr>
            <a:srgbClr val="A4A3A4"/>
          </p15:clr>
        </p15:guide>
        <p15:guide id="7" orient="horz" pos="3997" userDrawn="1">
          <p15:clr>
            <a:srgbClr val="A4A3A4"/>
          </p15:clr>
        </p15:guide>
        <p15:guide id="15" pos="3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3D590E-DFD8-7AE9-E097-6282E47A0E7E}" name="Alison Lock" initials="AL" userId="S::alison.lock@kantar.com::afdea830-8236-4e7b-be3b-c23cda2da6fd" providerId="AD"/>
  <p188:author id="{B7D173A4-7D36-6628-055C-01AEB7A91FB3}" name="Mitchell, Alexia (KTMLP)" initials="MA(" userId="S::alexia.mitchell@kantar.com::c49c006f-6766-44ce-978c-7c365abb019e" providerId="AD"/>
  <p188:author id="{A9BFC7DD-7E89-8689-8805-0E1B4162F2CC}" name="Mariana Lacaz" initials="ML" userId="S::Mariana.Lacaz@kantar.com::d412930a-8b64-4fb1-bc04-47777b95e1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771A0"/>
    <a:srgbClr val="2EEFEE"/>
    <a:srgbClr val="24E06D"/>
    <a:srgbClr val="E11B22"/>
    <a:srgbClr val="FFC728"/>
    <a:srgbClr val="30469C"/>
    <a:srgbClr val="0077FA"/>
    <a:srgbClr val="01A7B7"/>
    <a:srgbClr val="004A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A9F546-4827-C989-1268-00C2673C6F1A}" v="9" dt="2025-07-03T15:59:38.2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126" y="1044"/>
      </p:cViewPr>
      <p:guideLst>
        <p:guide orient="horz" pos="4178"/>
        <p:guide orient="horz" pos="3997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liana Dimas Samano" userId="S::liliana.dimassamano@kantar.com::4de5f4f7-d0e5-4e85-913b-778c8b7af7b6" providerId="AD" clId="Web-{D3A9F546-4827-C989-1268-00C2673C6F1A}"/>
    <pc:docChg chg="modSld addSection modSection">
      <pc:chgData name="Liliana Dimas Samano" userId="S::liliana.dimassamano@kantar.com::4de5f4f7-d0e5-4e85-913b-778c8b7af7b6" providerId="AD" clId="Web-{D3A9F546-4827-C989-1268-00C2673C6F1A}" dt="2025-07-03T15:59:38.274" v="7"/>
      <pc:docMkLst>
        <pc:docMk/>
      </pc:docMkLst>
      <pc:sldChg chg="modSp">
        <pc:chgData name="Liliana Dimas Samano" userId="S::liliana.dimassamano@kantar.com::4de5f4f7-d0e5-4e85-913b-778c8b7af7b6" providerId="AD" clId="Web-{D3A9F546-4827-C989-1268-00C2673C6F1A}" dt="2025-07-03T15:59:18.274" v="5" actId="20577"/>
        <pc:sldMkLst>
          <pc:docMk/>
          <pc:sldMk cId="871791165" sldId="413"/>
        </pc:sldMkLst>
        <pc:spChg chg="mod">
          <ac:chgData name="Liliana Dimas Samano" userId="S::liliana.dimassamano@kantar.com::4de5f4f7-d0e5-4e85-913b-778c8b7af7b6" providerId="AD" clId="Web-{D3A9F546-4827-C989-1268-00C2673C6F1A}" dt="2025-07-03T15:59:18.274" v="5" actId="20577"/>
          <ac:spMkLst>
            <pc:docMk/>
            <pc:sldMk cId="871791165" sldId="413"/>
            <ac:spMk id="6" creationId="{83728C66-BBF9-3047-6C39-30A0A442C3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880227061972167E-2"/>
          <c:y val="6.7765536837399415E-2"/>
          <c:w val="0.96386383970524503"/>
          <c:h val="0.7200769592775302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 Private Labels 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2:$Q$2</c:f>
              <c:numCache>
                <c:formatCode>General</c:formatCode>
                <c:ptCount val="16"/>
                <c:pt idx="2">
                  <c:v>12.5</c:v>
                </c:pt>
                <c:pt idx="3">
                  <c:v>15</c:v>
                </c:pt>
                <c:pt idx="4">
                  <c:v>3.9</c:v>
                </c:pt>
                <c:pt idx="5">
                  <c:v>4.2</c:v>
                </c:pt>
                <c:pt idx="8">
                  <c:v>11.5</c:v>
                </c:pt>
                <c:pt idx="9">
                  <c:v>9.5</c:v>
                </c:pt>
                <c:pt idx="10">
                  <c:v>14.9</c:v>
                </c:pt>
                <c:pt idx="11">
                  <c:v>14</c:v>
                </c:pt>
                <c:pt idx="12">
                  <c:v>1.3</c:v>
                </c:pt>
                <c:pt idx="13">
                  <c:v>0.9</c:v>
                </c:pt>
                <c:pt idx="14">
                  <c:v>32.200000000000003</c:v>
                </c:pt>
                <c:pt idx="15">
                  <c:v>3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C3-7241-9F17-DE67CD2477D4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Premium  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3:$Q$3</c:f>
              <c:numCache>
                <c:formatCode>General</c:formatCode>
                <c:ptCount val="16"/>
                <c:pt idx="0">
                  <c:v>43.1</c:v>
                </c:pt>
                <c:pt idx="1">
                  <c:v>48.2</c:v>
                </c:pt>
                <c:pt idx="2">
                  <c:v>74.3</c:v>
                </c:pt>
                <c:pt idx="3">
                  <c:v>69.099999999999994</c:v>
                </c:pt>
                <c:pt idx="4">
                  <c:v>39.4</c:v>
                </c:pt>
                <c:pt idx="5">
                  <c:v>40.9</c:v>
                </c:pt>
                <c:pt idx="6">
                  <c:v>7.4</c:v>
                </c:pt>
                <c:pt idx="7">
                  <c:v>7.7</c:v>
                </c:pt>
                <c:pt idx="8">
                  <c:v>29.6</c:v>
                </c:pt>
                <c:pt idx="9">
                  <c:v>29.8</c:v>
                </c:pt>
                <c:pt idx="10">
                  <c:v>47.5</c:v>
                </c:pt>
                <c:pt idx="11">
                  <c:v>52.2</c:v>
                </c:pt>
                <c:pt idx="12">
                  <c:v>43.9</c:v>
                </c:pt>
                <c:pt idx="13">
                  <c:v>38.700000000000003</c:v>
                </c:pt>
                <c:pt idx="14">
                  <c:v>8.6999999999999993</c:v>
                </c:pt>
                <c:pt idx="15">
                  <c:v>8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C3-7241-9F17-DE67CD2477D4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Mainstream 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4:$Q$4</c:f>
              <c:numCache>
                <c:formatCode>General</c:formatCode>
                <c:ptCount val="16"/>
                <c:pt idx="0">
                  <c:v>42</c:v>
                </c:pt>
                <c:pt idx="1">
                  <c:v>35.200000000000003</c:v>
                </c:pt>
                <c:pt idx="2">
                  <c:v>10.3</c:v>
                </c:pt>
                <c:pt idx="3">
                  <c:v>12.9</c:v>
                </c:pt>
                <c:pt idx="4">
                  <c:v>25.6</c:v>
                </c:pt>
                <c:pt idx="5">
                  <c:v>26.4</c:v>
                </c:pt>
                <c:pt idx="6">
                  <c:v>92.5</c:v>
                </c:pt>
                <c:pt idx="7">
                  <c:v>92.2</c:v>
                </c:pt>
                <c:pt idx="8">
                  <c:v>42.4</c:v>
                </c:pt>
                <c:pt idx="9">
                  <c:v>44</c:v>
                </c:pt>
                <c:pt idx="10">
                  <c:v>37.299999999999997</c:v>
                </c:pt>
                <c:pt idx="11">
                  <c:v>33.5</c:v>
                </c:pt>
                <c:pt idx="12">
                  <c:v>48.2</c:v>
                </c:pt>
                <c:pt idx="13">
                  <c:v>54.3</c:v>
                </c:pt>
                <c:pt idx="14">
                  <c:v>59.2</c:v>
                </c:pt>
                <c:pt idx="15">
                  <c:v>5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C3-7241-9F17-DE67CD2477D4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Economy 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C3-7241-9F17-DE67CD2477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C3-7241-9F17-DE67CD2477D4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C3-7241-9F17-DE67CD2477D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6C3-7241-9F17-DE67CD2477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5:$Q$5</c:f>
              <c:numCache>
                <c:formatCode>General</c:formatCode>
                <c:ptCount val="16"/>
                <c:pt idx="0">
                  <c:v>14.9</c:v>
                </c:pt>
                <c:pt idx="1">
                  <c:v>16.399999999999999</c:v>
                </c:pt>
                <c:pt idx="2">
                  <c:v>2.9</c:v>
                </c:pt>
                <c:pt idx="3">
                  <c:v>3.1</c:v>
                </c:pt>
                <c:pt idx="4">
                  <c:v>31.1</c:v>
                </c:pt>
                <c:pt idx="5">
                  <c:v>28.5</c:v>
                </c:pt>
                <c:pt idx="6">
                  <c:v>0.1</c:v>
                </c:pt>
                <c:pt idx="7">
                  <c:v>0.2</c:v>
                </c:pt>
                <c:pt idx="8">
                  <c:v>16.600000000000001</c:v>
                </c:pt>
                <c:pt idx="9">
                  <c:v>16.7</c:v>
                </c:pt>
                <c:pt idx="10">
                  <c:v>0.3</c:v>
                </c:pt>
                <c:pt idx="11">
                  <c:v>0.3</c:v>
                </c:pt>
                <c:pt idx="12">
                  <c:v>6.6</c:v>
                </c:pt>
                <c:pt idx="13">
                  <c:v>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6C3-7241-9F17-DE67CD247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overlap val="100"/>
        <c:axId val="311278144"/>
        <c:axId val="311268576"/>
      </c:barChart>
      <c:catAx>
        <c:axId val="31127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54851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311268576"/>
        <c:crosses val="autoZero"/>
        <c:auto val="1"/>
        <c:lblAlgn val="ctr"/>
        <c:lblOffset val="100"/>
        <c:noMultiLvlLbl val="0"/>
      </c:catAx>
      <c:valAx>
        <c:axId val="3112685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1127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868728729443964"/>
          <c:y val="0.90257479783288985"/>
          <c:w val="0.48270120439341091"/>
          <c:h val="7.24154585745138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54851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482901836812564E-2"/>
          <c:y val="3.993687315772565E-2"/>
          <c:w val="0.97224422521393139"/>
          <c:h val="0.73899015070117879"/>
        </c:manualLayout>
      </c:layout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otal Ecommerce  </c:v>
                </c:pt>
              </c:strCache>
            </c:strRef>
          </c:tx>
          <c:spPr>
            <a:ln w="38100" cap="rnd">
              <a:solidFill>
                <a:schemeClr val="bg2">
                  <a:alpha val="70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7"/>
            <c:spPr>
              <a:solidFill>
                <a:srgbClr val="054851"/>
              </a:solidFill>
              <a:ln w="127000">
                <a:solidFill>
                  <a:schemeClr val="bg2">
                    <a:alpha val="30000"/>
                  </a:schemeClr>
                </a:solidFill>
                <a:prstDash val="sysDash"/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2:$J$2</c:f>
              <c:numCache>
                <c:formatCode>0</c:formatCode>
                <c:ptCount val="9"/>
                <c:pt idx="0">
                  <c:v>100</c:v>
                </c:pt>
                <c:pt idx="1">
                  <c:v>100</c:v>
                </c:pt>
                <c:pt idx="2">
                  <c:v>159.67741935483869</c:v>
                </c:pt>
                <c:pt idx="3">
                  <c:v>159.67741935483869</c:v>
                </c:pt>
                <c:pt idx="4">
                  <c:v>161.29032258064515</c:v>
                </c:pt>
                <c:pt idx="5">
                  <c:v>132.25806451612902</c:v>
                </c:pt>
                <c:pt idx="6">
                  <c:v>146.77419354838707</c:v>
                </c:pt>
                <c:pt idx="7">
                  <c:v>156.45161290322579</c:v>
                </c:pt>
                <c:pt idx="8">
                  <c:v>153.22580645161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1CB-D446-B2C7-60B60925E154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Ate 29  </c:v>
                </c:pt>
              </c:strCache>
            </c:strRef>
          </c:tx>
          <c:spPr>
            <a:ln w="38100" cap="rnd">
              <a:solidFill>
                <a:srgbClr val="FFD628">
                  <a:alpha val="70000"/>
                </a:srgb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D628"/>
              </a:solidFill>
              <a:ln w="127000">
                <a:solidFill>
                  <a:srgbClr val="FFD628">
                    <a:alpha val="30000"/>
                  </a:srgbClr>
                </a:solidFill>
              </a:ln>
              <a:effectLst/>
            </c:spPr>
          </c:marker>
          <c:dPt>
            <c:idx val="4"/>
            <c:marker>
              <c:symbol val="circle"/>
              <c:size val="7"/>
              <c:spPr>
                <a:solidFill>
                  <a:srgbClr val="FFD628"/>
                </a:solidFill>
                <a:ln w="127000">
                  <a:solidFill>
                    <a:srgbClr val="FFD628">
                      <a:alpha val="30000"/>
                    </a:srgb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1CB-D446-B2C7-60B60925E154}"/>
              </c:ext>
            </c:extLst>
          </c:dPt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3:$J$3</c:f>
              <c:numCache>
                <c:formatCode>0</c:formatCode>
                <c:ptCount val="9"/>
                <c:pt idx="0">
                  <c:v>100</c:v>
                </c:pt>
                <c:pt idx="1">
                  <c:v>88.333333333333329</c:v>
                </c:pt>
                <c:pt idx="2">
                  <c:v>196.66666666666669</c:v>
                </c:pt>
                <c:pt idx="3">
                  <c:v>196.66666666666669</c:v>
                </c:pt>
                <c:pt idx="4">
                  <c:v>215</c:v>
                </c:pt>
                <c:pt idx="5">
                  <c:v>151.66666666666666</c:v>
                </c:pt>
                <c:pt idx="6">
                  <c:v>180</c:v>
                </c:pt>
                <c:pt idx="7">
                  <c:v>198.33333333333334</c:v>
                </c:pt>
                <c:pt idx="8">
                  <c:v>19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1CB-D446-B2C7-60B60925E154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De 30 Ate 39  </c:v>
                </c:pt>
              </c:strCache>
            </c:strRef>
          </c:tx>
          <c:spPr>
            <a:ln w="38100" cap="rnd">
              <a:solidFill>
                <a:srgbClr val="FF8215">
                  <a:alpha val="70000"/>
                </a:srgb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8215"/>
              </a:solidFill>
              <a:ln w="127000">
                <a:solidFill>
                  <a:srgbClr val="FF5000">
                    <a:alpha val="30000"/>
                  </a:srgb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4:$J$4</c:f>
              <c:numCache>
                <c:formatCode>0</c:formatCode>
                <c:ptCount val="9"/>
                <c:pt idx="0">
                  <c:v>100</c:v>
                </c:pt>
                <c:pt idx="1">
                  <c:v>101.58730158730161</c:v>
                </c:pt>
                <c:pt idx="2">
                  <c:v>160.31746031746033</c:v>
                </c:pt>
                <c:pt idx="3">
                  <c:v>153.96825396825395</c:v>
                </c:pt>
                <c:pt idx="4">
                  <c:v>176.19047619047618</c:v>
                </c:pt>
                <c:pt idx="5">
                  <c:v>142.85714285714286</c:v>
                </c:pt>
                <c:pt idx="6">
                  <c:v>160.31746031746033</c:v>
                </c:pt>
                <c:pt idx="7">
                  <c:v>152.38095238095238</c:v>
                </c:pt>
                <c:pt idx="8">
                  <c:v>171.4285714285714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01CB-D446-B2C7-60B60925E154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De 40 Ate 49  </c:v>
                </c:pt>
              </c:strCache>
            </c:strRef>
          </c:tx>
          <c:spPr>
            <a:ln w="38100" cap="rnd">
              <a:solidFill>
                <a:schemeClr val="accent5">
                  <a:alpha val="7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alpha val="70000"/>
                </a:schemeClr>
              </a:solidFill>
              <a:ln w="127000">
                <a:solidFill>
                  <a:schemeClr val="accent5">
                    <a:alpha val="30000"/>
                  </a:scheme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5:$J$5</c:f>
              <c:numCache>
                <c:formatCode>0</c:formatCode>
                <c:ptCount val="9"/>
                <c:pt idx="0">
                  <c:v>100</c:v>
                </c:pt>
                <c:pt idx="1">
                  <c:v>115.00000000000001</c:v>
                </c:pt>
                <c:pt idx="2">
                  <c:v>173.33333333333334</c:v>
                </c:pt>
                <c:pt idx="3">
                  <c:v>175</c:v>
                </c:pt>
                <c:pt idx="4">
                  <c:v>170</c:v>
                </c:pt>
                <c:pt idx="5">
                  <c:v>151.66666666666666</c:v>
                </c:pt>
                <c:pt idx="6">
                  <c:v>153.33333333333331</c:v>
                </c:pt>
                <c:pt idx="7">
                  <c:v>181.66666666666666</c:v>
                </c:pt>
                <c:pt idx="8">
                  <c:v>15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01CB-D446-B2C7-60B60925E154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 De 50 e +  </c:v>
                </c:pt>
              </c:strCache>
            </c:strRef>
          </c:tx>
          <c:spPr>
            <a:ln w="38100" cap="rnd">
              <a:solidFill>
                <a:schemeClr val="tx2">
                  <a:alpha val="7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127000">
                <a:solidFill>
                  <a:schemeClr val="tx2">
                    <a:alpha val="30000"/>
                  </a:scheme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6:$J$6</c:f>
              <c:numCache>
                <c:formatCode>0</c:formatCode>
                <c:ptCount val="9"/>
                <c:pt idx="0">
                  <c:v>100</c:v>
                </c:pt>
                <c:pt idx="1">
                  <c:v>90.769230769230774</c:v>
                </c:pt>
                <c:pt idx="2">
                  <c:v>133.84615384615384</c:v>
                </c:pt>
                <c:pt idx="3">
                  <c:v>135.38461538461539</c:v>
                </c:pt>
                <c:pt idx="4">
                  <c:v>118.46153846153847</c:v>
                </c:pt>
                <c:pt idx="5">
                  <c:v>101.53846153846153</c:v>
                </c:pt>
                <c:pt idx="6">
                  <c:v>116.92307692307691</c:v>
                </c:pt>
                <c:pt idx="7">
                  <c:v>123.07692307692308</c:v>
                </c:pt>
                <c:pt idx="8">
                  <c:v>115.384615384615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01CB-D446-B2C7-60B60925E1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129792"/>
        <c:axId val="246131712"/>
      </c:lineChart>
      <c:catAx>
        <c:axId val="246129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54851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46131712"/>
        <c:crosses val="autoZero"/>
        <c:auto val="1"/>
        <c:lblAlgn val="ctr"/>
        <c:lblOffset val="100"/>
        <c:noMultiLvlLbl val="0"/>
      </c:catAx>
      <c:valAx>
        <c:axId val="246131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46129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859597754401264"/>
          <c:y val="0.92401155953558756"/>
          <c:w val="0.71319257082648979"/>
          <c:h val="5.2752273645201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1!$C$1</c:f>
              <c:strCache>
                <c:ptCount val="1"/>
                <c:pt idx="0">
                  <c:v>Lealdad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A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922-0F42-BA7E-A4E7824F7404}"/>
              </c:ext>
            </c:extLst>
          </c:dPt>
          <c:dPt>
            <c:idx val="1"/>
            <c:invertIfNegative val="0"/>
            <c:bubble3D val="0"/>
            <c:spPr>
              <a:solidFill>
                <a:srgbClr val="014A52">
                  <a:alpha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922-0F42-BA7E-A4E7824F7404}"/>
              </c:ext>
            </c:extLst>
          </c:dPt>
          <c:dPt>
            <c:idx val="2"/>
            <c:invertIfNegative val="0"/>
            <c:bubble3D val="0"/>
            <c:spPr>
              <a:solidFill>
                <a:srgbClr val="FFD6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922-0F42-BA7E-A4E7824F7404}"/>
              </c:ext>
            </c:extLst>
          </c:dPt>
          <c:dPt>
            <c:idx val="3"/>
            <c:invertIfNegative val="0"/>
            <c:bubble3D val="0"/>
            <c:spPr>
              <a:solidFill>
                <a:srgbClr val="77C9D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922-0F42-BA7E-A4E7824F7404}"/>
              </c:ext>
            </c:extLst>
          </c:dPt>
          <c:dPt>
            <c:idx val="4"/>
            <c:invertIfNegative val="0"/>
            <c:bubble3D val="0"/>
            <c:spPr>
              <a:solidFill>
                <a:srgbClr val="0CF0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922-0F42-BA7E-A4E7824F7404}"/>
              </c:ext>
            </c:extLst>
          </c:dPt>
          <c:dPt>
            <c:idx val="5"/>
            <c:invertIfNegative val="0"/>
            <c:bubble3D val="0"/>
            <c:spPr>
              <a:solidFill>
                <a:srgbClr val="F871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922-0F42-BA7E-A4E7824F7404}"/>
              </c:ext>
            </c:extLst>
          </c:dPt>
          <c:dPt>
            <c:idx val="6"/>
            <c:invertIfNegative val="0"/>
            <c:bubble3D val="0"/>
            <c:spPr>
              <a:solidFill>
                <a:srgbClr val="0079F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922-0F42-BA7E-A4E7824F7404}"/>
              </c:ext>
            </c:extLst>
          </c:dPt>
          <c:dPt>
            <c:idx val="7"/>
            <c:invertIfNegative val="0"/>
            <c:bubble3D val="0"/>
            <c:spPr>
              <a:solidFill>
                <a:srgbClr val="FF82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922-0F42-BA7E-A4E7824F7404}"/>
              </c:ext>
            </c:extLst>
          </c:dPt>
          <c:dPt>
            <c:idx val="8"/>
            <c:invertIfNegative val="0"/>
            <c:bubble3D val="0"/>
            <c:spPr>
              <a:solidFill>
                <a:srgbClr val="77C9D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922-0F42-BA7E-A4E7824F7404}"/>
              </c:ext>
            </c:extLst>
          </c:dPt>
          <c:dPt>
            <c:idx val="9"/>
            <c:invertIfNegative val="0"/>
            <c:bubble3D val="0"/>
            <c:spPr>
              <a:solidFill>
                <a:srgbClr val="FFEF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922-0F42-BA7E-A4E7824F7404}"/>
              </c:ext>
            </c:extLst>
          </c:dPt>
          <c:dPt>
            <c:idx val="10"/>
            <c:invertIfNegative val="0"/>
            <c:bubble3D val="0"/>
            <c:spPr>
              <a:solidFill>
                <a:srgbClr val="95EFE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922-0F42-BA7E-A4E7824F7404}"/>
              </c:ext>
            </c:extLst>
          </c:dPt>
          <c:dPt>
            <c:idx val="11"/>
            <c:invertIfNegative val="0"/>
            <c:bubble3D val="0"/>
            <c:spPr>
              <a:solidFill>
                <a:srgbClr val="5D8F9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6922-0F42-BA7E-A4E7824F740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1!$B$2:$B$13</c:f>
              <c:strCache>
                <c:ptCount val="12"/>
                <c:pt idx="0">
                  <c:v>Hipermercado</c:v>
                </c:pt>
                <c:pt idx="1">
                  <c:v>E-commerce</c:v>
                </c:pt>
                <c:pt idx="2">
                  <c:v>Atacarejos</c:v>
                </c:pt>
                <c:pt idx="3">
                  <c:v>Perfumaria</c:v>
                </c:pt>
                <c:pt idx="4">
                  <c:v>Porta a Porta</c:v>
                </c:pt>
                <c:pt idx="5">
                  <c:v>Farmácia/Drogaria</c:v>
                </c:pt>
                <c:pt idx="6">
                  <c:v>Super Vizinhança</c:v>
                </c:pt>
                <c:pt idx="7">
                  <c:v>Super Rede</c:v>
                </c:pt>
                <c:pt idx="8">
                  <c:v>Varejo Tradicional</c:v>
                </c:pt>
                <c:pt idx="9">
                  <c:v>Loja de Dpto/Adegas</c:v>
                </c:pt>
                <c:pt idx="10">
                  <c:v>Depósitos</c:v>
                </c:pt>
                <c:pt idx="11">
                  <c:v>Super Independente</c:v>
                </c:pt>
              </c:strCache>
            </c:strRef>
          </c:cat>
          <c:val>
            <c:numRef>
              <c:f>Sheet11!$C$2:$C$13</c:f>
              <c:numCache>
                <c:formatCode>0.0</c:formatCode>
                <c:ptCount val="12"/>
                <c:pt idx="0">
                  <c:v>-3</c:v>
                </c:pt>
                <c:pt idx="1">
                  <c:v>-2.0999999999999996</c:v>
                </c:pt>
                <c:pt idx="2">
                  <c:v>-2.0999999999999979</c:v>
                </c:pt>
                <c:pt idx="3">
                  <c:v>-1.2999999999999998</c:v>
                </c:pt>
                <c:pt idx="4">
                  <c:v>-0.80000000000000071</c:v>
                </c:pt>
                <c:pt idx="5">
                  <c:v>-0.80000000000000071</c:v>
                </c:pt>
                <c:pt idx="6">
                  <c:v>-0.59999999999999964</c:v>
                </c:pt>
                <c:pt idx="7">
                  <c:v>-0.5</c:v>
                </c:pt>
                <c:pt idx="8">
                  <c:v>-0.30000000000000071</c:v>
                </c:pt>
                <c:pt idx="9">
                  <c:v>-0.19999999999999973</c:v>
                </c:pt>
                <c:pt idx="10">
                  <c:v>-9.9999999999999645E-2</c:v>
                </c:pt>
                <c:pt idx="11">
                  <c:v>0.39999999999999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922-0F42-BA7E-A4E7824F740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33081152"/>
        <c:axId val="2133076992"/>
      </c:barChart>
      <c:catAx>
        <c:axId val="21330811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133076992"/>
        <c:crosses val="autoZero"/>
        <c:auto val="1"/>
        <c:lblAlgn val="ctr"/>
        <c:lblOffset val="100"/>
        <c:noMultiLvlLbl val="0"/>
      </c:catAx>
      <c:valAx>
        <c:axId val="2133076992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2133081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>
                <a:solidFill>
                  <a:schemeClr val="bg2"/>
                </a:solidFill>
              </a:rPr>
              <a:t>Lorem</a:t>
            </a:r>
            <a:r>
              <a:rPr lang="en-US" sz="1200" b="1" baseline="0">
                <a:solidFill>
                  <a:schemeClr val="bg2"/>
                </a:solidFill>
              </a:rPr>
              <a:t> Ipsum</a:t>
            </a:r>
            <a:endParaRPr lang="en-US" sz="1200" b="1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2.5443492314606107E-2"/>
          <c:y val="9.49297679890842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0361178468292782"/>
          <c:y val="6.8916235211405066E-2"/>
          <c:w val="0.60713551584344971"/>
          <c:h val="0.8805839045670722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2700"/>
          </c:spPr>
          <c:dPt>
            <c:idx val="0"/>
            <c:bubble3D val="0"/>
            <c:spPr>
              <a:solidFill>
                <a:srgbClr val="FFD62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95-3D4F-AD8C-FB73964BE864}"/>
              </c:ext>
            </c:extLst>
          </c:dPt>
          <c:dPt>
            <c:idx val="1"/>
            <c:bubble3D val="0"/>
            <c:spPr>
              <a:solidFill>
                <a:srgbClr val="014A5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95-3D4F-AD8C-FB73964BE864}"/>
              </c:ext>
            </c:extLst>
          </c:dPt>
          <c:dPt>
            <c:idx val="2"/>
            <c:bubble3D val="0"/>
            <c:spPr>
              <a:solidFill>
                <a:srgbClr val="0CF0B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995-3D4F-AD8C-FB73964BE8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995-3D4F-AD8C-FB73964BE86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995-3D4F-AD8C-FB73964BE86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995-3D4F-AD8C-FB73964BE864}"/>
              </c:ext>
            </c:extLst>
          </c:dPt>
          <c:dPt>
            <c:idx val="6"/>
            <c:bubble3D val="0"/>
            <c:spPr>
              <a:solidFill>
                <a:srgbClr val="FFEF90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995-3D4F-AD8C-FB73964BE864}"/>
              </c:ext>
            </c:extLst>
          </c:dPt>
          <c:dPt>
            <c:idx val="7"/>
            <c:bubble3D val="0"/>
            <c:spPr>
              <a:solidFill>
                <a:srgbClr val="77C9D0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995-3D4F-AD8C-FB73964BE864}"/>
              </c:ext>
            </c:extLst>
          </c:dPt>
          <c:dPt>
            <c:idx val="8"/>
            <c:bubble3D val="0"/>
            <c:spPr>
              <a:solidFill>
                <a:srgbClr val="F8A4C6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995-3D4F-AD8C-FB73964BE864}"/>
              </c:ext>
            </c:extLst>
          </c:dPt>
          <c:dPt>
            <c:idx val="9"/>
            <c:bubble3D val="0"/>
            <c:spPr>
              <a:solidFill>
                <a:srgbClr val="89FDE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995-3D4F-AD8C-FB73964BE864}"/>
              </c:ext>
            </c:extLst>
          </c:dPt>
          <c:dPt>
            <c:idx val="10"/>
            <c:bubble3D val="0"/>
            <c:spPr>
              <a:solidFill>
                <a:srgbClr val="5D8F9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3995-3D4F-AD8C-FB73964BE864}"/>
              </c:ext>
            </c:extLst>
          </c:dPt>
          <c:dPt>
            <c:idx val="11"/>
            <c:bubble3D val="0"/>
            <c:spPr>
              <a:solidFill>
                <a:srgbClr val="01A8B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995-3D4F-AD8C-FB73964BE864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995-3D4F-AD8C-FB73964BE8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3</c:f>
              <c:strCache>
                <c:ptCount val="12"/>
                <c:pt idx="0">
                  <c:v>Hiper</c:v>
                </c:pt>
                <c:pt idx="1">
                  <c:v>E-commerce</c:v>
                </c:pt>
                <c:pt idx="2">
                  <c:v>Atacarejo</c:v>
                </c:pt>
                <c:pt idx="3">
                  <c:v>Perfumaria</c:v>
                </c:pt>
                <c:pt idx="4">
                  <c:v>Porta a Porta</c:v>
                </c:pt>
                <c:pt idx="5">
                  <c:v>Drogaria</c:v>
                </c:pt>
                <c:pt idx="6">
                  <c:v>Super Vizinhação</c:v>
                </c:pt>
                <c:pt idx="7">
                  <c:v>Super Rede</c:v>
                </c:pt>
                <c:pt idx="8">
                  <c:v>Varejo Tradicional</c:v>
                </c:pt>
                <c:pt idx="9">
                  <c:v>Loja de Depto</c:v>
                </c:pt>
                <c:pt idx="10">
                  <c:v>Depósitos</c:v>
                </c:pt>
                <c:pt idx="11">
                  <c:v>Super Indepente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7</c:v>
                </c:pt>
                <c:pt idx="5">
                  <c:v>5.5</c:v>
                </c:pt>
                <c:pt idx="6">
                  <c:v>9</c:v>
                </c:pt>
                <c:pt idx="7">
                  <c:v>7.4</c:v>
                </c:pt>
                <c:pt idx="8">
                  <c:v>3.2</c:v>
                </c:pt>
                <c:pt idx="9">
                  <c:v>1.8</c:v>
                </c:pt>
                <c:pt idx="10">
                  <c:v>4.8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3995-3D4F-AD8C-FB73964BE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8.3637470420928079E-3"/>
          <c:y val="0.18070164310721254"/>
          <c:w val="0.19325289148331018"/>
          <c:h val="0.748145666044978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s-CL" sz="1100" b="1" err="1">
                <a:solidFill>
                  <a:schemeClr val="bg2"/>
                </a:solidFill>
              </a:rPr>
              <a:t>Lorem</a:t>
            </a:r>
            <a:r>
              <a:rPr lang="es-CL" sz="1100" b="1">
                <a:solidFill>
                  <a:schemeClr val="bg2"/>
                </a:solidFill>
              </a:rPr>
              <a:t> </a:t>
            </a:r>
            <a:r>
              <a:rPr lang="es-CL" sz="1100" b="1" err="1">
                <a:solidFill>
                  <a:schemeClr val="bg2"/>
                </a:solidFill>
              </a:rPr>
              <a:t>Ipsum</a:t>
            </a:r>
            <a:endParaRPr lang="es-CL" sz="1100" b="1" baseline="0">
              <a:solidFill>
                <a:schemeClr val="bg2"/>
              </a:solidFill>
            </a:endParaRPr>
          </a:p>
          <a:p>
            <a:pPr>
              <a:defRPr sz="1100" b="1">
                <a:solidFill>
                  <a:schemeClr val="bg2"/>
                </a:solidFill>
              </a:defRPr>
            </a:pPr>
            <a:r>
              <a:rPr lang="es-CL" sz="1100" b="1" baseline="0">
                <a:solidFill>
                  <a:schemeClr val="bg2"/>
                </a:solidFill>
              </a:rPr>
              <a:t>vs </a:t>
            </a:r>
            <a:r>
              <a:rPr lang="es-CL" sz="1100" b="1" baseline="0" err="1">
                <a:solidFill>
                  <a:schemeClr val="bg2"/>
                </a:solidFill>
              </a:rPr>
              <a:t>Dut</a:t>
            </a:r>
            <a:r>
              <a:rPr lang="es-CL" sz="1100" b="1" baseline="0">
                <a:solidFill>
                  <a:schemeClr val="bg2"/>
                </a:solidFill>
              </a:rPr>
              <a:t> </a:t>
            </a:r>
            <a:r>
              <a:rPr lang="es-CL" sz="1100" b="1" baseline="0" err="1">
                <a:solidFill>
                  <a:schemeClr val="bg2"/>
                </a:solidFill>
              </a:rPr>
              <a:t>Venon</a:t>
            </a:r>
            <a:endParaRPr lang="es-CL" sz="1100" b="1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7.636179420999996E-3"/>
          <c:y val="0.116347325980829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12923421593931375"/>
          <c:y val="1.6550199392740626E-2"/>
          <c:w val="0.85673960763565593"/>
          <c:h val="0.9201791091163109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 Supermercados  </c:v>
                </c:pt>
              </c:strCache>
            </c:strRef>
          </c:tx>
          <c:spPr>
            <a:solidFill>
              <a:srgbClr val="01A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2:$I$2</c:f>
              <c:numCache>
                <c:formatCode>0</c:formatCode>
                <c:ptCount val="8"/>
                <c:pt idx="0">
                  <c:v>25.6</c:v>
                </c:pt>
                <c:pt idx="1">
                  <c:v>27.5</c:v>
                </c:pt>
                <c:pt idx="2">
                  <c:v>54.5</c:v>
                </c:pt>
                <c:pt idx="3">
                  <c:v>54.3</c:v>
                </c:pt>
                <c:pt idx="4">
                  <c:v>35.1</c:v>
                </c:pt>
                <c:pt idx="5">
                  <c:v>34.299999999999997</c:v>
                </c:pt>
                <c:pt idx="6">
                  <c:v>17.8</c:v>
                </c:pt>
                <c:pt idx="7">
                  <c:v>2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83-0B42-A707-7413B3399D23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Discounter  </c:v>
                </c:pt>
              </c:strCache>
            </c:strRef>
          </c:tx>
          <c:spPr>
            <a:solidFill>
              <a:srgbClr val="014A5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3:$I$3</c:f>
              <c:numCache>
                <c:formatCode>0</c:formatCode>
                <c:ptCount val="8"/>
                <c:pt idx="0">
                  <c:v>4.9000000000000004</c:v>
                </c:pt>
                <c:pt idx="1">
                  <c:v>5.4</c:v>
                </c:pt>
                <c:pt idx="2">
                  <c:v>3.6</c:v>
                </c:pt>
                <c:pt idx="3">
                  <c:v>4.0999999999999996</c:v>
                </c:pt>
                <c:pt idx="4">
                  <c:v>4.9000000000000004</c:v>
                </c:pt>
                <c:pt idx="5">
                  <c:v>5.0999999999999996</c:v>
                </c:pt>
                <c:pt idx="6">
                  <c:v>5</c:v>
                </c:pt>
                <c:pt idx="7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83-0B42-A707-7413B3399D23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Distributor  </c:v>
                </c:pt>
              </c:strCache>
            </c:strRef>
          </c:tx>
          <c:spPr>
            <a:solidFill>
              <a:srgbClr val="FFD62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4:$I$4</c:f>
              <c:numCache>
                <c:formatCode>0</c:formatCode>
                <c:ptCount val="8"/>
                <c:pt idx="0">
                  <c:v>8.1</c:v>
                </c:pt>
                <c:pt idx="1">
                  <c:v>7.8</c:v>
                </c:pt>
                <c:pt idx="2">
                  <c:v>3.7</c:v>
                </c:pt>
                <c:pt idx="3">
                  <c:v>3.6</c:v>
                </c:pt>
                <c:pt idx="4">
                  <c:v>6.3</c:v>
                </c:pt>
                <c:pt idx="5">
                  <c:v>6.5</c:v>
                </c:pt>
                <c:pt idx="6">
                  <c:v>9.5</c:v>
                </c:pt>
                <c:pt idx="7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83-0B42-A707-7413B3399D23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Grocery  </c:v>
                </c:pt>
              </c:strCache>
            </c:strRef>
          </c:tx>
          <c:spPr>
            <a:solidFill>
              <a:srgbClr val="77C9D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5:$I$5</c:f>
              <c:numCache>
                <c:formatCode>0</c:formatCode>
                <c:ptCount val="8"/>
                <c:pt idx="0">
                  <c:v>21.8</c:v>
                </c:pt>
                <c:pt idx="1">
                  <c:v>19.8</c:v>
                </c:pt>
                <c:pt idx="2">
                  <c:v>7.5</c:v>
                </c:pt>
                <c:pt idx="3">
                  <c:v>8.4</c:v>
                </c:pt>
                <c:pt idx="4">
                  <c:v>14.5</c:v>
                </c:pt>
                <c:pt idx="5">
                  <c:v>13.9</c:v>
                </c:pt>
                <c:pt idx="6">
                  <c:v>26.7</c:v>
                </c:pt>
                <c:pt idx="7">
                  <c:v>2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83-0B42-A707-7413B3399D23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 Otros Trad.</c:v>
                </c:pt>
              </c:strCache>
            </c:strRef>
          </c:tx>
          <c:spPr>
            <a:solidFill>
              <a:srgbClr val="0CF0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1C20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6:$I$6</c:f>
              <c:numCache>
                <c:formatCode>0</c:formatCode>
                <c:ptCount val="8"/>
                <c:pt idx="0">
                  <c:v>8.1</c:v>
                </c:pt>
                <c:pt idx="1">
                  <c:v>9.1</c:v>
                </c:pt>
                <c:pt idx="2">
                  <c:v>8.1999999999999993</c:v>
                </c:pt>
                <c:pt idx="3">
                  <c:v>8.6999999999999993</c:v>
                </c:pt>
                <c:pt idx="4">
                  <c:v>10</c:v>
                </c:pt>
                <c:pt idx="5">
                  <c:v>11.399999999999999</c:v>
                </c:pt>
                <c:pt idx="6">
                  <c:v>7.3</c:v>
                </c:pt>
                <c:pt idx="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83-0B42-A707-7413B3399D23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 Farmacias  </c:v>
                </c:pt>
              </c:strCache>
            </c:strRef>
          </c:tx>
          <c:spPr>
            <a:solidFill>
              <a:srgbClr val="F871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7:$I$7</c:f>
              <c:numCache>
                <c:formatCode>0</c:formatCode>
                <c:ptCount val="8"/>
                <c:pt idx="0">
                  <c:v>4.0999999999999996</c:v>
                </c:pt>
                <c:pt idx="1">
                  <c:v>3.9</c:v>
                </c:pt>
                <c:pt idx="2">
                  <c:v>2.9</c:v>
                </c:pt>
                <c:pt idx="3">
                  <c:v>2.7</c:v>
                </c:pt>
                <c:pt idx="4">
                  <c:v>3.6</c:v>
                </c:pt>
                <c:pt idx="5">
                  <c:v>3.3</c:v>
                </c:pt>
                <c:pt idx="6">
                  <c:v>4.5</c:v>
                </c:pt>
                <c:pt idx="7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83-0B42-A707-7413B3399D23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 Carnicerias  </c:v>
                </c:pt>
              </c:strCache>
            </c:strRef>
          </c:tx>
          <c:spPr>
            <a:solidFill>
              <a:srgbClr val="0079F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8:$I$8</c:f>
              <c:numCache>
                <c:formatCode>0</c:formatCode>
                <c:ptCount val="8"/>
                <c:pt idx="0">
                  <c:v>10.6</c:v>
                </c:pt>
                <c:pt idx="1">
                  <c:v>10.1</c:v>
                </c:pt>
                <c:pt idx="2">
                  <c:v>7.9</c:v>
                </c:pt>
                <c:pt idx="3">
                  <c:v>7.4</c:v>
                </c:pt>
                <c:pt idx="4">
                  <c:v>10.8</c:v>
                </c:pt>
                <c:pt idx="5">
                  <c:v>10.1</c:v>
                </c:pt>
                <c:pt idx="6">
                  <c:v>10.8</c:v>
                </c:pt>
                <c:pt idx="7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83-0B42-A707-7413B3399D23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 Ferias  </c:v>
                </c:pt>
              </c:strCache>
            </c:strRef>
          </c:tx>
          <c:spPr>
            <a:solidFill>
              <a:srgbClr val="FF821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9:$I$9</c:f>
              <c:numCache>
                <c:formatCode>0</c:formatCode>
                <c:ptCount val="8"/>
                <c:pt idx="0">
                  <c:v>6.4</c:v>
                </c:pt>
                <c:pt idx="1">
                  <c:v>6.3</c:v>
                </c:pt>
                <c:pt idx="2">
                  <c:v>2.7</c:v>
                </c:pt>
                <c:pt idx="3">
                  <c:v>2</c:v>
                </c:pt>
                <c:pt idx="4">
                  <c:v>4.8</c:v>
                </c:pt>
                <c:pt idx="5">
                  <c:v>5.0999999999999996</c:v>
                </c:pt>
                <c:pt idx="6">
                  <c:v>7.5</c:v>
                </c:pt>
                <c:pt idx="7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E83-0B42-A707-7413B3399D23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 Otros</c:v>
                </c:pt>
              </c:strCache>
            </c:strRef>
          </c:tx>
          <c:spPr>
            <a:solidFill>
              <a:srgbClr val="0023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10:$I$10</c:f>
              <c:numCache>
                <c:formatCode>0</c:formatCode>
                <c:ptCount val="8"/>
                <c:pt idx="0">
                  <c:v>10.400000000000006</c:v>
                </c:pt>
                <c:pt idx="1">
                  <c:v>10.100000000000009</c:v>
                </c:pt>
                <c:pt idx="2">
                  <c:v>8.9999999999999716</c:v>
                </c:pt>
                <c:pt idx="3">
                  <c:v>8.7999999999999829</c:v>
                </c:pt>
                <c:pt idx="4">
                  <c:v>10.000000000000014</c:v>
                </c:pt>
                <c:pt idx="5">
                  <c:v>10.300000000000026</c:v>
                </c:pt>
                <c:pt idx="6">
                  <c:v>10.900000000000006</c:v>
                </c:pt>
                <c:pt idx="7">
                  <c:v>10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E83-0B42-A707-7413B3399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4"/>
        <c:overlap val="100"/>
        <c:axId val="311278144"/>
        <c:axId val="311268576"/>
      </c:barChart>
      <c:catAx>
        <c:axId val="31127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311268576"/>
        <c:crosses val="autoZero"/>
        <c:auto val="1"/>
        <c:lblAlgn val="ctr"/>
        <c:lblOffset val="100"/>
        <c:noMultiLvlLbl val="0"/>
      </c:catAx>
      <c:valAx>
        <c:axId val="3112685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1127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6.6555740432612314E-3"/>
          <c:y val="0.22871412487811107"/>
          <c:w val="9.5474733711530646E-2"/>
          <c:h val="0.533597637540165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5439202919361308E-2"/>
          <c:w val="0.95960835904446318"/>
          <c:h val="0.70296951239418004"/>
        </c:manualLayout>
      </c:layout>
      <c:lineChart>
        <c:grouping val="standard"/>
        <c:varyColors val="0"/>
        <c:ser>
          <c:idx val="1"/>
          <c:order val="1"/>
          <c:tx>
            <c:strRef>
              <c:f>Planilha1!$A$3</c:f>
              <c:strCache>
                <c:ptCount val="1"/>
                <c:pt idx="0">
                  <c:v>Unidades por viagem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3:$J$3</c:f>
              <c:numCache>
                <c:formatCode>0</c:formatCode>
                <c:ptCount val="9"/>
                <c:pt idx="0">
                  <c:v>100</c:v>
                </c:pt>
                <c:pt idx="1">
                  <c:v>97.253634894991919</c:v>
                </c:pt>
                <c:pt idx="2">
                  <c:v>99.434571890145392</c:v>
                </c:pt>
                <c:pt idx="3">
                  <c:v>103.55411954765749</c:v>
                </c:pt>
                <c:pt idx="4">
                  <c:v>102.26171243941842</c:v>
                </c:pt>
                <c:pt idx="5">
                  <c:v>95.718901453957983</c:v>
                </c:pt>
                <c:pt idx="6">
                  <c:v>95.880452342487871</c:v>
                </c:pt>
                <c:pt idx="7">
                  <c:v>100.32310177705976</c:v>
                </c:pt>
                <c:pt idx="8">
                  <c:v>95.39579967689822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8AD-544B-A931-ACE0579F69E2}"/>
            </c:ext>
          </c:extLst>
        </c:ser>
        <c:ser>
          <c:idx val="2"/>
          <c:order val="2"/>
          <c:tx>
            <c:strRef>
              <c:f>Planilha1!$A$4</c:f>
              <c:strCache>
                <c:ptCount val="1"/>
                <c:pt idx="0">
                  <c:v>Gasto por viagem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4:$J$4</c:f>
              <c:numCache>
                <c:formatCode>0</c:formatCode>
                <c:ptCount val="9"/>
                <c:pt idx="0">
                  <c:v>100</c:v>
                </c:pt>
                <c:pt idx="1">
                  <c:v>99.221160911094785</c:v>
                </c:pt>
                <c:pt idx="2">
                  <c:v>98.368846436443789</c:v>
                </c:pt>
                <c:pt idx="3">
                  <c:v>104.20279206465834</c:v>
                </c:pt>
                <c:pt idx="4">
                  <c:v>103.23291697281411</c:v>
                </c:pt>
                <c:pt idx="5">
                  <c:v>101.36664217487143</c:v>
                </c:pt>
                <c:pt idx="6">
                  <c:v>101.63115356355621</c:v>
                </c:pt>
                <c:pt idx="7">
                  <c:v>107.14180749448934</c:v>
                </c:pt>
                <c:pt idx="8">
                  <c:v>106.700955180014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8AD-544B-A931-ACE0579F6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112128"/>
        <c:axId val="1296097248"/>
      </c:lineChart>
      <c:lineChart>
        <c:grouping val="standard"/>
        <c:varyColors val="0"/>
        <c:ser>
          <c:idx val="0"/>
          <c:order val="0"/>
          <c:tx>
            <c:strRef>
              <c:f>Planilha1!$A$2</c:f>
              <c:strCache>
                <c:ptCount val="1"/>
                <c:pt idx="0">
                  <c:v>Penetração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2:$J$2</c:f>
              <c:numCache>
                <c:formatCode>0</c:formatCode>
                <c:ptCount val="9"/>
                <c:pt idx="0">
                  <c:v>100</c:v>
                </c:pt>
                <c:pt idx="1">
                  <c:v>96.168582375478934</c:v>
                </c:pt>
                <c:pt idx="2">
                  <c:v>97.573435504469998</c:v>
                </c:pt>
                <c:pt idx="3">
                  <c:v>95.53001277139208</c:v>
                </c:pt>
                <c:pt idx="4">
                  <c:v>95.146871008939982</c:v>
                </c:pt>
                <c:pt idx="5">
                  <c:v>95.913154533844178</c:v>
                </c:pt>
                <c:pt idx="6">
                  <c:v>102.80970625798211</c:v>
                </c:pt>
                <c:pt idx="7">
                  <c:v>104.85312899106003</c:v>
                </c:pt>
                <c:pt idx="8">
                  <c:v>111.1111111111111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8AD-544B-A931-ACE0579F69E2}"/>
            </c:ext>
          </c:extLst>
        </c:ser>
        <c:ser>
          <c:idx val="3"/>
          <c:order val="3"/>
          <c:tx>
            <c:strRef>
              <c:f>Planilha1!$A$5</c:f>
              <c:strCache>
                <c:ptCount val="1"/>
                <c:pt idx="0">
                  <c:v>Frequência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5:$J$5</c:f>
              <c:numCache>
                <c:formatCode>0</c:formatCode>
                <c:ptCount val="9"/>
                <c:pt idx="0">
                  <c:v>100</c:v>
                </c:pt>
                <c:pt idx="1">
                  <c:v>107.05882352941177</c:v>
                </c:pt>
                <c:pt idx="2">
                  <c:v>107.05882352941177</c:v>
                </c:pt>
                <c:pt idx="3">
                  <c:v>103.5294117647059</c:v>
                </c:pt>
                <c:pt idx="4">
                  <c:v>101.17647058823529</c:v>
                </c:pt>
                <c:pt idx="5">
                  <c:v>102.35294117647058</c:v>
                </c:pt>
                <c:pt idx="6">
                  <c:v>96.470588235294102</c:v>
                </c:pt>
                <c:pt idx="7">
                  <c:v>97.64705882352942</c:v>
                </c:pt>
                <c:pt idx="8">
                  <c:v>98.8235294117647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28AD-544B-A931-ACE0579F69E2}"/>
            </c:ext>
          </c:extLst>
        </c:ser>
        <c:ser>
          <c:idx val="4"/>
          <c:order val="4"/>
          <c:tx>
            <c:strRef>
              <c:f>Planilha1!$A$6</c:f>
              <c:strCache>
                <c:ptCount val="1"/>
                <c:pt idx="0">
                  <c:v>Preço Médio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6:$J$6</c:f>
              <c:numCache>
                <c:formatCode>0</c:formatCode>
                <c:ptCount val="9"/>
                <c:pt idx="0">
                  <c:v>100</c:v>
                </c:pt>
                <c:pt idx="1">
                  <c:v>102</c:v>
                </c:pt>
                <c:pt idx="2">
                  <c:v>98.909090909090907</c:v>
                </c:pt>
                <c:pt idx="3">
                  <c:v>100.54545454545456</c:v>
                </c:pt>
                <c:pt idx="4">
                  <c:v>100.90909090909091</c:v>
                </c:pt>
                <c:pt idx="5">
                  <c:v>105.81818181818183</c:v>
                </c:pt>
                <c:pt idx="6">
                  <c:v>106</c:v>
                </c:pt>
                <c:pt idx="7">
                  <c:v>106.72727272727273</c:v>
                </c:pt>
                <c:pt idx="8">
                  <c:v>111.818181818181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28AD-544B-A931-ACE0579F6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7471663"/>
        <c:axId val="917466383"/>
      </c:lineChart>
      <c:catAx>
        <c:axId val="129611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96097248"/>
        <c:crosses val="autoZero"/>
        <c:auto val="1"/>
        <c:lblAlgn val="ctr"/>
        <c:lblOffset val="100"/>
        <c:noMultiLvlLbl val="0"/>
      </c:catAx>
      <c:valAx>
        <c:axId val="1296097248"/>
        <c:scaling>
          <c:orientation val="minMax"/>
          <c:max val="150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1296112128"/>
        <c:crosses val="autoZero"/>
        <c:crossBetween val="between"/>
      </c:valAx>
      <c:valAx>
        <c:axId val="917466383"/>
        <c:scaling>
          <c:orientation val="minMax"/>
          <c:max val="120"/>
          <c:min val="90"/>
        </c:scaling>
        <c:delete val="0"/>
        <c:axPos val="r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7471663"/>
        <c:crosses val="max"/>
        <c:crossBetween val="between"/>
      </c:valAx>
      <c:catAx>
        <c:axId val="917471663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917466383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958109449906655"/>
          <c:y val="0.8616404706064924"/>
          <c:w val="0.71956600627481071"/>
          <c:h val="5.12338351438981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482901836812564E-2"/>
          <c:y val="3.993687315772565E-2"/>
          <c:w val="0.97224422521393139"/>
          <c:h val="0.73899015070117879"/>
        </c:manualLayout>
      </c:layout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otal Ecommerce  </c:v>
                </c:pt>
              </c:strCache>
            </c:strRef>
          </c:tx>
          <c:spPr>
            <a:ln w="38100" cap="rnd">
              <a:solidFill>
                <a:schemeClr val="bg2">
                  <a:alpha val="70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7"/>
            <c:spPr>
              <a:solidFill>
                <a:srgbClr val="054851"/>
              </a:solidFill>
              <a:ln w="127000">
                <a:solidFill>
                  <a:schemeClr val="bg2">
                    <a:alpha val="30000"/>
                  </a:schemeClr>
                </a:solidFill>
                <a:prstDash val="sysDash"/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2:$J$2</c:f>
              <c:numCache>
                <c:formatCode>0</c:formatCode>
                <c:ptCount val="9"/>
                <c:pt idx="0">
                  <c:v>100</c:v>
                </c:pt>
                <c:pt idx="1">
                  <c:v>100</c:v>
                </c:pt>
                <c:pt idx="2">
                  <c:v>159.67741935483869</c:v>
                </c:pt>
                <c:pt idx="3">
                  <c:v>159.67741935483869</c:v>
                </c:pt>
                <c:pt idx="4">
                  <c:v>161.29032258064515</c:v>
                </c:pt>
                <c:pt idx="5">
                  <c:v>132.25806451612902</c:v>
                </c:pt>
                <c:pt idx="6">
                  <c:v>146.77419354838707</c:v>
                </c:pt>
                <c:pt idx="7">
                  <c:v>156.45161290322579</c:v>
                </c:pt>
                <c:pt idx="8">
                  <c:v>153.22580645161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1CB-D446-B2C7-60B60925E154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Ate 29  </c:v>
                </c:pt>
              </c:strCache>
            </c:strRef>
          </c:tx>
          <c:spPr>
            <a:ln w="38100" cap="rnd">
              <a:solidFill>
                <a:srgbClr val="FFD628">
                  <a:alpha val="70000"/>
                </a:srgb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D628"/>
              </a:solidFill>
              <a:ln w="127000">
                <a:solidFill>
                  <a:srgbClr val="FFD628">
                    <a:alpha val="30000"/>
                  </a:srgbClr>
                </a:solidFill>
              </a:ln>
              <a:effectLst/>
            </c:spPr>
          </c:marker>
          <c:dPt>
            <c:idx val="4"/>
            <c:marker>
              <c:symbol val="circle"/>
              <c:size val="7"/>
              <c:spPr>
                <a:solidFill>
                  <a:srgbClr val="FFD628"/>
                </a:solidFill>
                <a:ln w="127000">
                  <a:solidFill>
                    <a:srgbClr val="FFD628">
                      <a:alpha val="30000"/>
                    </a:srgb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1CB-D446-B2C7-60B60925E154}"/>
              </c:ext>
            </c:extLst>
          </c:dPt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3:$J$3</c:f>
              <c:numCache>
                <c:formatCode>0</c:formatCode>
                <c:ptCount val="9"/>
                <c:pt idx="0">
                  <c:v>100</c:v>
                </c:pt>
                <c:pt idx="1">
                  <c:v>88.333333333333329</c:v>
                </c:pt>
                <c:pt idx="2">
                  <c:v>196.66666666666669</c:v>
                </c:pt>
                <c:pt idx="3">
                  <c:v>196.66666666666669</c:v>
                </c:pt>
                <c:pt idx="4">
                  <c:v>215</c:v>
                </c:pt>
                <c:pt idx="5">
                  <c:v>151.66666666666666</c:v>
                </c:pt>
                <c:pt idx="6">
                  <c:v>180</c:v>
                </c:pt>
                <c:pt idx="7">
                  <c:v>198.33333333333334</c:v>
                </c:pt>
                <c:pt idx="8">
                  <c:v>19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1CB-D446-B2C7-60B60925E154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De 30 Ate 39  </c:v>
                </c:pt>
              </c:strCache>
            </c:strRef>
          </c:tx>
          <c:spPr>
            <a:ln w="38100" cap="rnd">
              <a:solidFill>
                <a:srgbClr val="FF8215">
                  <a:alpha val="70000"/>
                </a:srgb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8215"/>
              </a:solidFill>
              <a:ln w="127000">
                <a:solidFill>
                  <a:srgbClr val="FF5000">
                    <a:alpha val="30000"/>
                  </a:srgb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4:$J$4</c:f>
              <c:numCache>
                <c:formatCode>0</c:formatCode>
                <c:ptCount val="9"/>
                <c:pt idx="0">
                  <c:v>100</c:v>
                </c:pt>
                <c:pt idx="1">
                  <c:v>101.58730158730161</c:v>
                </c:pt>
                <c:pt idx="2">
                  <c:v>160.31746031746033</c:v>
                </c:pt>
                <c:pt idx="3">
                  <c:v>153.96825396825395</c:v>
                </c:pt>
                <c:pt idx="4">
                  <c:v>176.19047619047618</c:v>
                </c:pt>
                <c:pt idx="5">
                  <c:v>142.85714285714286</c:v>
                </c:pt>
                <c:pt idx="6">
                  <c:v>160.31746031746033</c:v>
                </c:pt>
                <c:pt idx="7">
                  <c:v>152.38095238095238</c:v>
                </c:pt>
                <c:pt idx="8">
                  <c:v>171.4285714285714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01CB-D446-B2C7-60B60925E154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De 40 Ate 49  </c:v>
                </c:pt>
              </c:strCache>
            </c:strRef>
          </c:tx>
          <c:spPr>
            <a:ln w="38100" cap="rnd">
              <a:solidFill>
                <a:schemeClr val="accent5">
                  <a:alpha val="7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alpha val="70000"/>
                </a:schemeClr>
              </a:solidFill>
              <a:ln w="127000">
                <a:solidFill>
                  <a:schemeClr val="accent5">
                    <a:alpha val="30000"/>
                  </a:scheme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5:$J$5</c:f>
              <c:numCache>
                <c:formatCode>0</c:formatCode>
                <c:ptCount val="9"/>
                <c:pt idx="0">
                  <c:v>100</c:v>
                </c:pt>
                <c:pt idx="1">
                  <c:v>115.00000000000001</c:v>
                </c:pt>
                <c:pt idx="2">
                  <c:v>173.33333333333334</c:v>
                </c:pt>
                <c:pt idx="3">
                  <c:v>175</c:v>
                </c:pt>
                <c:pt idx="4">
                  <c:v>170</c:v>
                </c:pt>
                <c:pt idx="5">
                  <c:v>151.66666666666666</c:v>
                </c:pt>
                <c:pt idx="6">
                  <c:v>153.33333333333331</c:v>
                </c:pt>
                <c:pt idx="7">
                  <c:v>181.66666666666666</c:v>
                </c:pt>
                <c:pt idx="8">
                  <c:v>15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01CB-D446-B2C7-60B60925E154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 De 50 e +  </c:v>
                </c:pt>
              </c:strCache>
            </c:strRef>
          </c:tx>
          <c:spPr>
            <a:ln w="38100" cap="rnd">
              <a:solidFill>
                <a:schemeClr val="tx2">
                  <a:alpha val="7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127000">
                <a:solidFill>
                  <a:schemeClr val="tx2">
                    <a:alpha val="30000"/>
                  </a:schemeClr>
                </a:solidFill>
              </a:ln>
              <a:effectLst/>
            </c:spPr>
          </c:marker>
          <c:cat>
            <c:strRef>
              <c:f>Hoja1!$B$1:$J$1</c:f>
              <c:strCache>
                <c:ptCount val="9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  <c:pt idx="6">
                  <c:v>Q3-22</c:v>
                </c:pt>
                <c:pt idx="7">
                  <c:v>Q4-22</c:v>
                </c:pt>
                <c:pt idx="8">
                  <c:v>Q1-23</c:v>
                </c:pt>
              </c:strCache>
            </c:strRef>
          </c:cat>
          <c:val>
            <c:numRef>
              <c:f>Hoja1!$B$6:$J$6</c:f>
              <c:numCache>
                <c:formatCode>0</c:formatCode>
                <c:ptCount val="9"/>
                <c:pt idx="0">
                  <c:v>100</c:v>
                </c:pt>
                <c:pt idx="1">
                  <c:v>90.769230769230774</c:v>
                </c:pt>
                <c:pt idx="2">
                  <c:v>133.84615384615384</c:v>
                </c:pt>
                <c:pt idx="3">
                  <c:v>135.38461538461539</c:v>
                </c:pt>
                <c:pt idx="4">
                  <c:v>118.46153846153847</c:v>
                </c:pt>
                <c:pt idx="5">
                  <c:v>101.53846153846153</c:v>
                </c:pt>
                <c:pt idx="6">
                  <c:v>116.92307692307691</c:v>
                </c:pt>
                <c:pt idx="7">
                  <c:v>123.07692307692308</c:v>
                </c:pt>
                <c:pt idx="8">
                  <c:v>115.384615384615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01CB-D446-B2C7-60B60925E1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129792"/>
        <c:axId val="246131712"/>
      </c:lineChart>
      <c:catAx>
        <c:axId val="246129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54851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46131712"/>
        <c:crosses val="autoZero"/>
        <c:auto val="1"/>
        <c:lblAlgn val="ctr"/>
        <c:lblOffset val="100"/>
        <c:noMultiLvlLbl val="0"/>
      </c:catAx>
      <c:valAx>
        <c:axId val="246131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46129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859597754401264"/>
          <c:y val="0.92401155953558756"/>
          <c:w val="0.71319257082648979"/>
          <c:h val="5.2752273645201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1!$C$1</c:f>
              <c:strCache>
                <c:ptCount val="1"/>
                <c:pt idx="0">
                  <c:v>Lealdad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A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922-0F42-BA7E-A4E7824F7404}"/>
              </c:ext>
            </c:extLst>
          </c:dPt>
          <c:dPt>
            <c:idx val="1"/>
            <c:invertIfNegative val="0"/>
            <c:bubble3D val="0"/>
            <c:spPr>
              <a:solidFill>
                <a:srgbClr val="014A52">
                  <a:alpha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922-0F42-BA7E-A4E7824F7404}"/>
              </c:ext>
            </c:extLst>
          </c:dPt>
          <c:dPt>
            <c:idx val="2"/>
            <c:invertIfNegative val="0"/>
            <c:bubble3D val="0"/>
            <c:spPr>
              <a:solidFill>
                <a:srgbClr val="FFD6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922-0F42-BA7E-A4E7824F7404}"/>
              </c:ext>
            </c:extLst>
          </c:dPt>
          <c:dPt>
            <c:idx val="3"/>
            <c:invertIfNegative val="0"/>
            <c:bubble3D val="0"/>
            <c:spPr>
              <a:solidFill>
                <a:srgbClr val="77C9D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922-0F42-BA7E-A4E7824F7404}"/>
              </c:ext>
            </c:extLst>
          </c:dPt>
          <c:dPt>
            <c:idx val="4"/>
            <c:invertIfNegative val="0"/>
            <c:bubble3D val="0"/>
            <c:spPr>
              <a:solidFill>
                <a:srgbClr val="0CF0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922-0F42-BA7E-A4E7824F7404}"/>
              </c:ext>
            </c:extLst>
          </c:dPt>
          <c:dPt>
            <c:idx val="5"/>
            <c:invertIfNegative val="0"/>
            <c:bubble3D val="0"/>
            <c:spPr>
              <a:solidFill>
                <a:srgbClr val="F871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922-0F42-BA7E-A4E7824F7404}"/>
              </c:ext>
            </c:extLst>
          </c:dPt>
          <c:dPt>
            <c:idx val="6"/>
            <c:invertIfNegative val="0"/>
            <c:bubble3D val="0"/>
            <c:spPr>
              <a:solidFill>
                <a:srgbClr val="0079F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922-0F42-BA7E-A4E7824F7404}"/>
              </c:ext>
            </c:extLst>
          </c:dPt>
          <c:dPt>
            <c:idx val="7"/>
            <c:invertIfNegative val="0"/>
            <c:bubble3D val="0"/>
            <c:spPr>
              <a:solidFill>
                <a:srgbClr val="FF82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922-0F42-BA7E-A4E7824F7404}"/>
              </c:ext>
            </c:extLst>
          </c:dPt>
          <c:dPt>
            <c:idx val="8"/>
            <c:invertIfNegative val="0"/>
            <c:bubble3D val="0"/>
            <c:spPr>
              <a:solidFill>
                <a:srgbClr val="77C9D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922-0F42-BA7E-A4E7824F7404}"/>
              </c:ext>
            </c:extLst>
          </c:dPt>
          <c:dPt>
            <c:idx val="9"/>
            <c:invertIfNegative val="0"/>
            <c:bubble3D val="0"/>
            <c:spPr>
              <a:solidFill>
                <a:srgbClr val="FFEF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922-0F42-BA7E-A4E7824F7404}"/>
              </c:ext>
            </c:extLst>
          </c:dPt>
          <c:dPt>
            <c:idx val="10"/>
            <c:invertIfNegative val="0"/>
            <c:bubble3D val="0"/>
            <c:spPr>
              <a:solidFill>
                <a:srgbClr val="95EFE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922-0F42-BA7E-A4E7824F7404}"/>
              </c:ext>
            </c:extLst>
          </c:dPt>
          <c:dPt>
            <c:idx val="11"/>
            <c:invertIfNegative val="0"/>
            <c:bubble3D val="0"/>
            <c:spPr>
              <a:solidFill>
                <a:srgbClr val="5D8F9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6922-0F42-BA7E-A4E7824F740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1!$B$2:$B$13</c:f>
              <c:strCache>
                <c:ptCount val="12"/>
                <c:pt idx="0">
                  <c:v>Hipermercado</c:v>
                </c:pt>
                <c:pt idx="1">
                  <c:v>E-commerce</c:v>
                </c:pt>
                <c:pt idx="2">
                  <c:v>Atacarejos</c:v>
                </c:pt>
                <c:pt idx="3">
                  <c:v>Perfumaria</c:v>
                </c:pt>
                <c:pt idx="4">
                  <c:v>Porta a Porta</c:v>
                </c:pt>
                <c:pt idx="5">
                  <c:v>Farmácia/Drogaria</c:v>
                </c:pt>
                <c:pt idx="6">
                  <c:v>Super Vizinhança</c:v>
                </c:pt>
                <c:pt idx="7">
                  <c:v>Super Rede</c:v>
                </c:pt>
                <c:pt idx="8">
                  <c:v>Varejo Tradicional</c:v>
                </c:pt>
                <c:pt idx="9">
                  <c:v>Loja de Dpto/Adegas</c:v>
                </c:pt>
                <c:pt idx="10">
                  <c:v>Depósitos</c:v>
                </c:pt>
                <c:pt idx="11">
                  <c:v>Super Independente</c:v>
                </c:pt>
              </c:strCache>
            </c:strRef>
          </c:cat>
          <c:val>
            <c:numRef>
              <c:f>Sheet11!$C$2:$C$13</c:f>
              <c:numCache>
                <c:formatCode>0.0</c:formatCode>
                <c:ptCount val="12"/>
                <c:pt idx="0">
                  <c:v>-3</c:v>
                </c:pt>
                <c:pt idx="1">
                  <c:v>-2.0999999999999996</c:v>
                </c:pt>
                <c:pt idx="2">
                  <c:v>-2.0999999999999979</c:v>
                </c:pt>
                <c:pt idx="3">
                  <c:v>-1.2999999999999998</c:v>
                </c:pt>
                <c:pt idx="4">
                  <c:v>-0.80000000000000071</c:v>
                </c:pt>
                <c:pt idx="5">
                  <c:v>-0.80000000000000071</c:v>
                </c:pt>
                <c:pt idx="6">
                  <c:v>-0.59999999999999964</c:v>
                </c:pt>
                <c:pt idx="7">
                  <c:v>-0.5</c:v>
                </c:pt>
                <c:pt idx="8">
                  <c:v>-0.30000000000000071</c:v>
                </c:pt>
                <c:pt idx="9">
                  <c:v>-0.19999999999999973</c:v>
                </c:pt>
                <c:pt idx="10">
                  <c:v>-9.9999999999999645E-2</c:v>
                </c:pt>
                <c:pt idx="11">
                  <c:v>0.39999999999999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922-0F42-BA7E-A4E7824F740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33081152"/>
        <c:axId val="2133076992"/>
      </c:barChart>
      <c:catAx>
        <c:axId val="21330811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2133076992"/>
        <c:crosses val="autoZero"/>
        <c:auto val="1"/>
        <c:lblAlgn val="ctr"/>
        <c:lblOffset val="100"/>
        <c:noMultiLvlLbl val="0"/>
      </c:catAx>
      <c:valAx>
        <c:axId val="2133076992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2133081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>
                <a:solidFill>
                  <a:schemeClr val="bg2"/>
                </a:solidFill>
              </a:rPr>
              <a:t>Lorem</a:t>
            </a:r>
            <a:r>
              <a:rPr lang="en-US" sz="1200" b="1" baseline="0">
                <a:solidFill>
                  <a:schemeClr val="bg2"/>
                </a:solidFill>
              </a:rPr>
              <a:t> Ipsum</a:t>
            </a:r>
            <a:endParaRPr lang="en-US" sz="1200" b="1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2.5443492314606107E-2"/>
          <c:y val="9.49297679890842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0361178468292782"/>
          <c:y val="6.8916235211405066E-2"/>
          <c:w val="0.60713551584344971"/>
          <c:h val="0.8805839045670722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2700"/>
          </c:spPr>
          <c:dPt>
            <c:idx val="0"/>
            <c:bubble3D val="0"/>
            <c:spPr>
              <a:solidFill>
                <a:srgbClr val="FFD62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95-3D4F-AD8C-FB73964BE864}"/>
              </c:ext>
            </c:extLst>
          </c:dPt>
          <c:dPt>
            <c:idx val="1"/>
            <c:bubble3D val="0"/>
            <c:spPr>
              <a:solidFill>
                <a:srgbClr val="014A5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95-3D4F-AD8C-FB73964BE864}"/>
              </c:ext>
            </c:extLst>
          </c:dPt>
          <c:dPt>
            <c:idx val="2"/>
            <c:bubble3D val="0"/>
            <c:spPr>
              <a:solidFill>
                <a:srgbClr val="0CF0B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995-3D4F-AD8C-FB73964BE8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995-3D4F-AD8C-FB73964BE86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995-3D4F-AD8C-FB73964BE86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995-3D4F-AD8C-FB73964BE864}"/>
              </c:ext>
            </c:extLst>
          </c:dPt>
          <c:dPt>
            <c:idx val="6"/>
            <c:bubble3D val="0"/>
            <c:spPr>
              <a:solidFill>
                <a:srgbClr val="FFEF90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995-3D4F-AD8C-FB73964BE864}"/>
              </c:ext>
            </c:extLst>
          </c:dPt>
          <c:dPt>
            <c:idx val="7"/>
            <c:bubble3D val="0"/>
            <c:spPr>
              <a:solidFill>
                <a:srgbClr val="77C9D0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995-3D4F-AD8C-FB73964BE864}"/>
              </c:ext>
            </c:extLst>
          </c:dPt>
          <c:dPt>
            <c:idx val="8"/>
            <c:bubble3D val="0"/>
            <c:spPr>
              <a:solidFill>
                <a:srgbClr val="F8A4C6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995-3D4F-AD8C-FB73964BE864}"/>
              </c:ext>
            </c:extLst>
          </c:dPt>
          <c:dPt>
            <c:idx val="9"/>
            <c:bubble3D val="0"/>
            <c:spPr>
              <a:solidFill>
                <a:srgbClr val="89FDE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995-3D4F-AD8C-FB73964BE864}"/>
              </c:ext>
            </c:extLst>
          </c:dPt>
          <c:dPt>
            <c:idx val="10"/>
            <c:bubble3D val="0"/>
            <c:spPr>
              <a:solidFill>
                <a:srgbClr val="5D8F9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3995-3D4F-AD8C-FB73964BE864}"/>
              </c:ext>
            </c:extLst>
          </c:dPt>
          <c:dPt>
            <c:idx val="11"/>
            <c:bubble3D val="0"/>
            <c:spPr>
              <a:solidFill>
                <a:srgbClr val="01A8B8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995-3D4F-AD8C-FB73964BE864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995-3D4F-AD8C-FB73964BE8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3</c:f>
              <c:strCache>
                <c:ptCount val="12"/>
                <c:pt idx="0">
                  <c:v>Hiper</c:v>
                </c:pt>
                <c:pt idx="1">
                  <c:v>E-commerce</c:v>
                </c:pt>
                <c:pt idx="2">
                  <c:v>Atacarejo</c:v>
                </c:pt>
                <c:pt idx="3">
                  <c:v>Perfumaria</c:v>
                </c:pt>
                <c:pt idx="4">
                  <c:v>Porta a Porta</c:v>
                </c:pt>
                <c:pt idx="5">
                  <c:v>Drogaria</c:v>
                </c:pt>
                <c:pt idx="6">
                  <c:v>Super Vizinhação</c:v>
                </c:pt>
                <c:pt idx="7">
                  <c:v>Super Rede</c:v>
                </c:pt>
                <c:pt idx="8">
                  <c:v>Varejo Tradicional</c:v>
                </c:pt>
                <c:pt idx="9">
                  <c:v>Loja de Depto</c:v>
                </c:pt>
                <c:pt idx="10">
                  <c:v>Depósitos</c:v>
                </c:pt>
                <c:pt idx="11">
                  <c:v>Super Indepente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7</c:v>
                </c:pt>
                <c:pt idx="5">
                  <c:v>5.5</c:v>
                </c:pt>
                <c:pt idx="6">
                  <c:v>9</c:v>
                </c:pt>
                <c:pt idx="7">
                  <c:v>7.4</c:v>
                </c:pt>
                <c:pt idx="8">
                  <c:v>3.2</c:v>
                </c:pt>
                <c:pt idx="9">
                  <c:v>1.8</c:v>
                </c:pt>
                <c:pt idx="10">
                  <c:v>4.8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3995-3D4F-AD8C-FB73964BE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8.3637470420928079E-3"/>
          <c:y val="0.18070164310721254"/>
          <c:w val="0.19325289148331018"/>
          <c:h val="0.748145666044978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880227061972167E-2"/>
          <c:y val="6.7765536837399415E-2"/>
          <c:w val="0.96386383970524503"/>
          <c:h val="0.7200769592775302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 Private Labels 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2:$Q$2</c:f>
              <c:numCache>
                <c:formatCode>General</c:formatCode>
                <c:ptCount val="16"/>
                <c:pt idx="2">
                  <c:v>12.5</c:v>
                </c:pt>
                <c:pt idx="3">
                  <c:v>15</c:v>
                </c:pt>
                <c:pt idx="4">
                  <c:v>3.9</c:v>
                </c:pt>
                <c:pt idx="5">
                  <c:v>4.2</c:v>
                </c:pt>
                <c:pt idx="8">
                  <c:v>11.5</c:v>
                </c:pt>
                <c:pt idx="9">
                  <c:v>9.5</c:v>
                </c:pt>
                <c:pt idx="10">
                  <c:v>14.9</c:v>
                </c:pt>
                <c:pt idx="11">
                  <c:v>14</c:v>
                </c:pt>
                <c:pt idx="12">
                  <c:v>1.3</c:v>
                </c:pt>
                <c:pt idx="13">
                  <c:v>0.9</c:v>
                </c:pt>
                <c:pt idx="14">
                  <c:v>32.200000000000003</c:v>
                </c:pt>
                <c:pt idx="15">
                  <c:v>3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C3-7241-9F17-DE67CD2477D4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Premium  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3:$Q$3</c:f>
              <c:numCache>
                <c:formatCode>General</c:formatCode>
                <c:ptCount val="16"/>
                <c:pt idx="0">
                  <c:v>43.1</c:v>
                </c:pt>
                <c:pt idx="1">
                  <c:v>48.2</c:v>
                </c:pt>
                <c:pt idx="2">
                  <c:v>74.3</c:v>
                </c:pt>
                <c:pt idx="3">
                  <c:v>69.099999999999994</c:v>
                </c:pt>
                <c:pt idx="4">
                  <c:v>39.4</c:v>
                </c:pt>
                <c:pt idx="5">
                  <c:v>40.9</c:v>
                </c:pt>
                <c:pt idx="6">
                  <c:v>7.4</c:v>
                </c:pt>
                <c:pt idx="7">
                  <c:v>7.7</c:v>
                </c:pt>
                <c:pt idx="8">
                  <c:v>29.6</c:v>
                </c:pt>
                <c:pt idx="9">
                  <c:v>29.8</c:v>
                </c:pt>
                <c:pt idx="10">
                  <c:v>47.5</c:v>
                </c:pt>
                <c:pt idx="11">
                  <c:v>52.2</c:v>
                </c:pt>
                <c:pt idx="12">
                  <c:v>43.9</c:v>
                </c:pt>
                <c:pt idx="13">
                  <c:v>38.700000000000003</c:v>
                </c:pt>
                <c:pt idx="14">
                  <c:v>8.6999999999999993</c:v>
                </c:pt>
                <c:pt idx="15">
                  <c:v>8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C3-7241-9F17-DE67CD2477D4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Mainstream 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4:$Q$4</c:f>
              <c:numCache>
                <c:formatCode>General</c:formatCode>
                <c:ptCount val="16"/>
                <c:pt idx="0">
                  <c:v>42</c:v>
                </c:pt>
                <c:pt idx="1">
                  <c:v>35.200000000000003</c:v>
                </c:pt>
                <c:pt idx="2">
                  <c:v>10.3</c:v>
                </c:pt>
                <c:pt idx="3">
                  <c:v>12.9</c:v>
                </c:pt>
                <c:pt idx="4">
                  <c:v>25.6</c:v>
                </c:pt>
                <c:pt idx="5">
                  <c:v>26.4</c:v>
                </c:pt>
                <c:pt idx="6">
                  <c:v>92.5</c:v>
                </c:pt>
                <c:pt idx="7">
                  <c:v>92.2</c:v>
                </c:pt>
                <c:pt idx="8">
                  <c:v>42.4</c:v>
                </c:pt>
                <c:pt idx="9">
                  <c:v>44</c:v>
                </c:pt>
                <c:pt idx="10">
                  <c:v>37.299999999999997</c:v>
                </c:pt>
                <c:pt idx="11">
                  <c:v>33.5</c:v>
                </c:pt>
                <c:pt idx="12">
                  <c:v>48.2</c:v>
                </c:pt>
                <c:pt idx="13">
                  <c:v>54.3</c:v>
                </c:pt>
                <c:pt idx="14">
                  <c:v>59.2</c:v>
                </c:pt>
                <c:pt idx="15">
                  <c:v>5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C3-7241-9F17-DE67CD2477D4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Economy 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C3-7241-9F17-DE67CD2477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C3-7241-9F17-DE67CD2477D4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C3-7241-9F17-DE67CD2477D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6C3-7241-9F17-DE67CD2477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Q$1</c:f>
              <c:strCache>
                <c:ptCount val="16"/>
                <c:pt idx="0">
                  <c:v>B.A</c:v>
                </c:pt>
                <c:pt idx="1">
                  <c:v>B.C</c:v>
                </c:pt>
                <c:pt idx="2">
                  <c:v>B.A </c:v>
                </c:pt>
                <c:pt idx="3">
                  <c:v> B.C</c:v>
                </c:pt>
                <c:pt idx="4">
                  <c:v> B.A</c:v>
                </c:pt>
                <c:pt idx="5">
                  <c:v> B. C</c:v>
                </c:pt>
                <c:pt idx="6">
                  <c:v>  B.A</c:v>
                </c:pt>
                <c:pt idx="7">
                  <c:v>  B.C.</c:v>
                </c:pt>
                <c:pt idx="8">
                  <c:v>B.A  </c:v>
                </c:pt>
                <c:pt idx="9">
                  <c:v>B.G  </c:v>
                </c:pt>
                <c:pt idx="10">
                  <c:v>   B.A</c:v>
                </c:pt>
                <c:pt idx="11">
                  <c:v>  B.C</c:v>
                </c:pt>
                <c:pt idx="12">
                  <c:v>  B.A </c:v>
                </c:pt>
                <c:pt idx="13">
                  <c:v>   B.C</c:v>
                </c:pt>
                <c:pt idx="14">
                  <c:v>  B.A  </c:v>
                </c:pt>
                <c:pt idx="15">
                  <c:v>   B.C  </c:v>
                </c:pt>
              </c:strCache>
            </c:strRef>
          </c:cat>
          <c:val>
            <c:numRef>
              <c:f>Hoja1!$B$5:$Q$5</c:f>
              <c:numCache>
                <c:formatCode>General</c:formatCode>
                <c:ptCount val="16"/>
                <c:pt idx="0">
                  <c:v>14.9</c:v>
                </c:pt>
                <c:pt idx="1">
                  <c:v>16.399999999999999</c:v>
                </c:pt>
                <c:pt idx="2">
                  <c:v>2.9</c:v>
                </c:pt>
                <c:pt idx="3">
                  <c:v>3.1</c:v>
                </c:pt>
                <c:pt idx="4">
                  <c:v>31.1</c:v>
                </c:pt>
                <c:pt idx="5">
                  <c:v>28.5</c:v>
                </c:pt>
                <c:pt idx="6">
                  <c:v>0.1</c:v>
                </c:pt>
                <c:pt idx="7">
                  <c:v>0.2</c:v>
                </c:pt>
                <c:pt idx="8">
                  <c:v>16.600000000000001</c:v>
                </c:pt>
                <c:pt idx="9">
                  <c:v>16.7</c:v>
                </c:pt>
                <c:pt idx="10">
                  <c:v>0.3</c:v>
                </c:pt>
                <c:pt idx="11">
                  <c:v>0.3</c:v>
                </c:pt>
                <c:pt idx="12">
                  <c:v>6.6</c:v>
                </c:pt>
                <c:pt idx="13">
                  <c:v>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6C3-7241-9F17-DE67CD247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overlap val="100"/>
        <c:axId val="311278144"/>
        <c:axId val="311268576"/>
      </c:barChart>
      <c:catAx>
        <c:axId val="31127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54851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311268576"/>
        <c:crosses val="autoZero"/>
        <c:auto val="1"/>
        <c:lblAlgn val="ctr"/>
        <c:lblOffset val="100"/>
        <c:noMultiLvlLbl val="0"/>
      </c:catAx>
      <c:valAx>
        <c:axId val="3112685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1127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868728729443964"/>
          <c:y val="0.90257479783288985"/>
          <c:w val="0.48270120439341091"/>
          <c:h val="7.24154585745138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54851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s-CL" sz="1100" b="1" err="1">
                <a:solidFill>
                  <a:schemeClr val="bg2"/>
                </a:solidFill>
              </a:rPr>
              <a:t>Lorem</a:t>
            </a:r>
            <a:r>
              <a:rPr lang="es-CL" sz="1100" b="1">
                <a:solidFill>
                  <a:schemeClr val="bg2"/>
                </a:solidFill>
              </a:rPr>
              <a:t> </a:t>
            </a:r>
            <a:r>
              <a:rPr lang="es-CL" sz="1100" b="1" err="1">
                <a:solidFill>
                  <a:schemeClr val="bg2"/>
                </a:solidFill>
              </a:rPr>
              <a:t>Ipsum</a:t>
            </a:r>
            <a:endParaRPr lang="es-CL" sz="1100" b="1" baseline="0">
              <a:solidFill>
                <a:schemeClr val="bg2"/>
              </a:solidFill>
            </a:endParaRPr>
          </a:p>
          <a:p>
            <a:pPr>
              <a:defRPr sz="1100" b="1">
                <a:solidFill>
                  <a:schemeClr val="bg2"/>
                </a:solidFill>
              </a:defRPr>
            </a:pPr>
            <a:r>
              <a:rPr lang="es-CL" sz="1100" b="1" baseline="0">
                <a:solidFill>
                  <a:schemeClr val="bg2"/>
                </a:solidFill>
              </a:rPr>
              <a:t>vs </a:t>
            </a:r>
            <a:r>
              <a:rPr lang="es-CL" sz="1100" b="1" baseline="0" err="1">
                <a:solidFill>
                  <a:schemeClr val="bg2"/>
                </a:solidFill>
              </a:rPr>
              <a:t>Dut</a:t>
            </a:r>
            <a:r>
              <a:rPr lang="es-CL" sz="1100" b="1" baseline="0">
                <a:solidFill>
                  <a:schemeClr val="bg2"/>
                </a:solidFill>
              </a:rPr>
              <a:t> </a:t>
            </a:r>
            <a:r>
              <a:rPr lang="es-CL" sz="1100" b="1" baseline="0" err="1">
                <a:solidFill>
                  <a:schemeClr val="bg2"/>
                </a:solidFill>
              </a:rPr>
              <a:t>Venon</a:t>
            </a:r>
            <a:endParaRPr lang="es-CL" sz="1100" b="1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7.636179420999996E-3"/>
          <c:y val="0.116347325980829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12923421593931375"/>
          <c:y val="1.6550199392740626E-2"/>
          <c:w val="0.85673960763565593"/>
          <c:h val="0.9201791091163109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 Supermercados  </c:v>
                </c:pt>
              </c:strCache>
            </c:strRef>
          </c:tx>
          <c:spPr>
            <a:solidFill>
              <a:srgbClr val="01A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2:$I$2</c:f>
              <c:numCache>
                <c:formatCode>0</c:formatCode>
                <c:ptCount val="8"/>
                <c:pt idx="0">
                  <c:v>25.6</c:v>
                </c:pt>
                <c:pt idx="1">
                  <c:v>27.5</c:v>
                </c:pt>
                <c:pt idx="2">
                  <c:v>54.5</c:v>
                </c:pt>
                <c:pt idx="3">
                  <c:v>54.3</c:v>
                </c:pt>
                <c:pt idx="4">
                  <c:v>35.1</c:v>
                </c:pt>
                <c:pt idx="5">
                  <c:v>34.299999999999997</c:v>
                </c:pt>
                <c:pt idx="6">
                  <c:v>17.8</c:v>
                </c:pt>
                <c:pt idx="7">
                  <c:v>2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83-0B42-A707-7413B3399D23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 Discounter  </c:v>
                </c:pt>
              </c:strCache>
            </c:strRef>
          </c:tx>
          <c:spPr>
            <a:solidFill>
              <a:srgbClr val="014A5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3:$I$3</c:f>
              <c:numCache>
                <c:formatCode>0</c:formatCode>
                <c:ptCount val="8"/>
                <c:pt idx="0">
                  <c:v>4.9000000000000004</c:v>
                </c:pt>
                <c:pt idx="1">
                  <c:v>5.4</c:v>
                </c:pt>
                <c:pt idx="2">
                  <c:v>3.6</c:v>
                </c:pt>
                <c:pt idx="3">
                  <c:v>4.0999999999999996</c:v>
                </c:pt>
                <c:pt idx="4">
                  <c:v>4.9000000000000004</c:v>
                </c:pt>
                <c:pt idx="5">
                  <c:v>5.0999999999999996</c:v>
                </c:pt>
                <c:pt idx="6">
                  <c:v>5</c:v>
                </c:pt>
                <c:pt idx="7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83-0B42-A707-7413B3399D23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 Distributor  </c:v>
                </c:pt>
              </c:strCache>
            </c:strRef>
          </c:tx>
          <c:spPr>
            <a:solidFill>
              <a:srgbClr val="FFD62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4:$I$4</c:f>
              <c:numCache>
                <c:formatCode>0</c:formatCode>
                <c:ptCount val="8"/>
                <c:pt idx="0">
                  <c:v>8.1</c:v>
                </c:pt>
                <c:pt idx="1">
                  <c:v>7.8</c:v>
                </c:pt>
                <c:pt idx="2">
                  <c:v>3.7</c:v>
                </c:pt>
                <c:pt idx="3">
                  <c:v>3.6</c:v>
                </c:pt>
                <c:pt idx="4">
                  <c:v>6.3</c:v>
                </c:pt>
                <c:pt idx="5">
                  <c:v>6.5</c:v>
                </c:pt>
                <c:pt idx="6">
                  <c:v>9.5</c:v>
                </c:pt>
                <c:pt idx="7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83-0B42-A707-7413B3399D23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 Grocery  </c:v>
                </c:pt>
              </c:strCache>
            </c:strRef>
          </c:tx>
          <c:spPr>
            <a:solidFill>
              <a:srgbClr val="77C9D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5:$I$5</c:f>
              <c:numCache>
                <c:formatCode>0</c:formatCode>
                <c:ptCount val="8"/>
                <c:pt idx="0">
                  <c:v>21.8</c:v>
                </c:pt>
                <c:pt idx="1">
                  <c:v>19.8</c:v>
                </c:pt>
                <c:pt idx="2">
                  <c:v>7.5</c:v>
                </c:pt>
                <c:pt idx="3">
                  <c:v>8.4</c:v>
                </c:pt>
                <c:pt idx="4">
                  <c:v>14.5</c:v>
                </c:pt>
                <c:pt idx="5">
                  <c:v>13.9</c:v>
                </c:pt>
                <c:pt idx="6">
                  <c:v>26.7</c:v>
                </c:pt>
                <c:pt idx="7">
                  <c:v>2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83-0B42-A707-7413B3399D23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 Otros Trad.</c:v>
                </c:pt>
              </c:strCache>
            </c:strRef>
          </c:tx>
          <c:spPr>
            <a:solidFill>
              <a:srgbClr val="0CF0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1C20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6:$I$6</c:f>
              <c:numCache>
                <c:formatCode>0</c:formatCode>
                <c:ptCount val="8"/>
                <c:pt idx="0">
                  <c:v>8.1</c:v>
                </c:pt>
                <c:pt idx="1">
                  <c:v>9.1</c:v>
                </c:pt>
                <c:pt idx="2">
                  <c:v>8.1999999999999993</c:v>
                </c:pt>
                <c:pt idx="3">
                  <c:v>8.6999999999999993</c:v>
                </c:pt>
                <c:pt idx="4">
                  <c:v>10</c:v>
                </c:pt>
                <c:pt idx="5">
                  <c:v>11.399999999999999</c:v>
                </c:pt>
                <c:pt idx="6">
                  <c:v>7.3</c:v>
                </c:pt>
                <c:pt idx="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83-0B42-A707-7413B3399D23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 Farmacias  </c:v>
                </c:pt>
              </c:strCache>
            </c:strRef>
          </c:tx>
          <c:spPr>
            <a:solidFill>
              <a:srgbClr val="F871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7:$I$7</c:f>
              <c:numCache>
                <c:formatCode>0</c:formatCode>
                <c:ptCount val="8"/>
                <c:pt idx="0">
                  <c:v>4.0999999999999996</c:v>
                </c:pt>
                <c:pt idx="1">
                  <c:v>3.9</c:v>
                </c:pt>
                <c:pt idx="2">
                  <c:v>2.9</c:v>
                </c:pt>
                <c:pt idx="3">
                  <c:v>2.7</c:v>
                </c:pt>
                <c:pt idx="4">
                  <c:v>3.6</c:v>
                </c:pt>
                <c:pt idx="5">
                  <c:v>3.3</c:v>
                </c:pt>
                <c:pt idx="6">
                  <c:v>4.5</c:v>
                </c:pt>
                <c:pt idx="7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83-0B42-A707-7413B3399D23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 Carnicerias  </c:v>
                </c:pt>
              </c:strCache>
            </c:strRef>
          </c:tx>
          <c:spPr>
            <a:solidFill>
              <a:srgbClr val="0079F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8:$I$8</c:f>
              <c:numCache>
                <c:formatCode>0</c:formatCode>
                <c:ptCount val="8"/>
                <c:pt idx="0">
                  <c:v>10.6</c:v>
                </c:pt>
                <c:pt idx="1">
                  <c:v>10.1</c:v>
                </c:pt>
                <c:pt idx="2">
                  <c:v>7.9</c:v>
                </c:pt>
                <c:pt idx="3">
                  <c:v>7.4</c:v>
                </c:pt>
                <c:pt idx="4">
                  <c:v>10.8</c:v>
                </c:pt>
                <c:pt idx="5">
                  <c:v>10.1</c:v>
                </c:pt>
                <c:pt idx="6">
                  <c:v>10.8</c:v>
                </c:pt>
                <c:pt idx="7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83-0B42-A707-7413B3399D23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 Ferias  </c:v>
                </c:pt>
              </c:strCache>
            </c:strRef>
          </c:tx>
          <c:spPr>
            <a:solidFill>
              <a:srgbClr val="FF821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9:$I$9</c:f>
              <c:numCache>
                <c:formatCode>0</c:formatCode>
                <c:ptCount val="8"/>
                <c:pt idx="0">
                  <c:v>6.4</c:v>
                </c:pt>
                <c:pt idx="1">
                  <c:v>6.3</c:v>
                </c:pt>
                <c:pt idx="2">
                  <c:v>2.7</c:v>
                </c:pt>
                <c:pt idx="3">
                  <c:v>2</c:v>
                </c:pt>
                <c:pt idx="4">
                  <c:v>4.8</c:v>
                </c:pt>
                <c:pt idx="5">
                  <c:v>5.0999999999999996</c:v>
                </c:pt>
                <c:pt idx="6">
                  <c:v>7.5</c:v>
                </c:pt>
                <c:pt idx="7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E83-0B42-A707-7413B3399D23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 Otros</c:v>
                </c:pt>
              </c:strCache>
            </c:strRef>
          </c:tx>
          <c:spPr>
            <a:solidFill>
              <a:srgbClr val="0023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I$1</c:f>
              <c:strCache>
                <c:ptCount val="8"/>
                <c:pt idx="0">
                  <c:v>B.Normal</c:v>
                </c:pt>
                <c:pt idx="1">
                  <c:v>B. Galápagos</c:v>
                </c:pt>
                <c:pt idx="2">
                  <c:v>B.Normal </c:v>
                </c:pt>
                <c:pt idx="3">
                  <c:v>B. Galápagos </c:v>
                </c:pt>
                <c:pt idx="4">
                  <c:v> B.Normal</c:v>
                </c:pt>
                <c:pt idx="5">
                  <c:v> B. Galápagos</c:v>
                </c:pt>
                <c:pt idx="6">
                  <c:v>B.Normal  </c:v>
                </c:pt>
                <c:pt idx="7">
                  <c:v>B. Galápagos  </c:v>
                </c:pt>
              </c:strCache>
            </c:strRef>
          </c:cat>
          <c:val>
            <c:numRef>
              <c:f>Hoja1!$B$10:$I$10</c:f>
              <c:numCache>
                <c:formatCode>0</c:formatCode>
                <c:ptCount val="8"/>
                <c:pt idx="0">
                  <c:v>10.400000000000006</c:v>
                </c:pt>
                <c:pt idx="1">
                  <c:v>10.100000000000009</c:v>
                </c:pt>
                <c:pt idx="2">
                  <c:v>8.9999999999999716</c:v>
                </c:pt>
                <c:pt idx="3">
                  <c:v>8.7999999999999829</c:v>
                </c:pt>
                <c:pt idx="4">
                  <c:v>10.000000000000014</c:v>
                </c:pt>
                <c:pt idx="5">
                  <c:v>10.300000000000026</c:v>
                </c:pt>
                <c:pt idx="6">
                  <c:v>10.900000000000006</c:v>
                </c:pt>
                <c:pt idx="7">
                  <c:v>10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E83-0B42-A707-7413B3399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4"/>
        <c:overlap val="100"/>
        <c:axId val="311278144"/>
        <c:axId val="311268576"/>
      </c:barChart>
      <c:catAx>
        <c:axId val="31127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311268576"/>
        <c:crosses val="autoZero"/>
        <c:auto val="1"/>
        <c:lblAlgn val="ctr"/>
        <c:lblOffset val="100"/>
        <c:noMultiLvlLbl val="0"/>
      </c:catAx>
      <c:valAx>
        <c:axId val="3112685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1127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6.6555740432612314E-3"/>
          <c:y val="0.22871412487811107"/>
          <c:w val="9.5474733711530646E-2"/>
          <c:h val="0.533597637540165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5439202919361308E-2"/>
          <c:w val="0.95960835904446318"/>
          <c:h val="0.70296951239418004"/>
        </c:manualLayout>
      </c:layout>
      <c:lineChart>
        <c:grouping val="standard"/>
        <c:varyColors val="0"/>
        <c:ser>
          <c:idx val="1"/>
          <c:order val="1"/>
          <c:tx>
            <c:strRef>
              <c:f>Planilha1!$A$3</c:f>
              <c:strCache>
                <c:ptCount val="1"/>
                <c:pt idx="0">
                  <c:v>Unidades por viagem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3:$J$3</c:f>
              <c:numCache>
                <c:formatCode>0</c:formatCode>
                <c:ptCount val="9"/>
                <c:pt idx="0">
                  <c:v>100</c:v>
                </c:pt>
                <c:pt idx="1">
                  <c:v>97.253634894991919</c:v>
                </c:pt>
                <c:pt idx="2">
                  <c:v>99.434571890145392</c:v>
                </c:pt>
                <c:pt idx="3">
                  <c:v>103.55411954765749</c:v>
                </c:pt>
                <c:pt idx="4">
                  <c:v>102.26171243941842</c:v>
                </c:pt>
                <c:pt idx="5">
                  <c:v>95.718901453957983</c:v>
                </c:pt>
                <c:pt idx="6">
                  <c:v>95.880452342487871</c:v>
                </c:pt>
                <c:pt idx="7">
                  <c:v>100.32310177705976</c:v>
                </c:pt>
                <c:pt idx="8">
                  <c:v>95.39579967689822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8AD-544B-A931-ACE0579F69E2}"/>
            </c:ext>
          </c:extLst>
        </c:ser>
        <c:ser>
          <c:idx val="2"/>
          <c:order val="2"/>
          <c:tx>
            <c:strRef>
              <c:f>Planilha1!$A$4</c:f>
              <c:strCache>
                <c:ptCount val="1"/>
                <c:pt idx="0">
                  <c:v>Gasto por viagem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4:$J$4</c:f>
              <c:numCache>
                <c:formatCode>0</c:formatCode>
                <c:ptCount val="9"/>
                <c:pt idx="0">
                  <c:v>100</c:v>
                </c:pt>
                <c:pt idx="1">
                  <c:v>99.221160911094785</c:v>
                </c:pt>
                <c:pt idx="2">
                  <c:v>98.368846436443789</c:v>
                </c:pt>
                <c:pt idx="3">
                  <c:v>104.20279206465834</c:v>
                </c:pt>
                <c:pt idx="4">
                  <c:v>103.23291697281411</c:v>
                </c:pt>
                <c:pt idx="5">
                  <c:v>101.36664217487143</c:v>
                </c:pt>
                <c:pt idx="6">
                  <c:v>101.63115356355621</c:v>
                </c:pt>
                <c:pt idx="7">
                  <c:v>107.14180749448934</c:v>
                </c:pt>
                <c:pt idx="8">
                  <c:v>106.700955180014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8AD-544B-A931-ACE0579F6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112128"/>
        <c:axId val="1296097248"/>
      </c:lineChart>
      <c:lineChart>
        <c:grouping val="standard"/>
        <c:varyColors val="0"/>
        <c:ser>
          <c:idx val="0"/>
          <c:order val="0"/>
          <c:tx>
            <c:strRef>
              <c:f>Planilha1!$A$2</c:f>
              <c:strCache>
                <c:ptCount val="1"/>
                <c:pt idx="0">
                  <c:v>Penetração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2:$J$2</c:f>
              <c:numCache>
                <c:formatCode>0</c:formatCode>
                <c:ptCount val="9"/>
                <c:pt idx="0">
                  <c:v>100</c:v>
                </c:pt>
                <c:pt idx="1">
                  <c:v>96.168582375478934</c:v>
                </c:pt>
                <c:pt idx="2">
                  <c:v>97.573435504469998</c:v>
                </c:pt>
                <c:pt idx="3">
                  <c:v>95.53001277139208</c:v>
                </c:pt>
                <c:pt idx="4">
                  <c:v>95.146871008939982</c:v>
                </c:pt>
                <c:pt idx="5">
                  <c:v>95.913154533844178</c:v>
                </c:pt>
                <c:pt idx="6">
                  <c:v>102.80970625798211</c:v>
                </c:pt>
                <c:pt idx="7">
                  <c:v>104.85312899106003</c:v>
                </c:pt>
                <c:pt idx="8">
                  <c:v>111.1111111111111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8AD-544B-A931-ACE0579F69E2}"/>
            </c:ext>
          </c:extLst>
        </c:ser>
        <c:ser>
          <c:idx val="3"/>
          <c:order val="3"/>
          <c:tx>
            <c:strRef>
              <c:f>Planilha1!$A$5</c:f>
              <c:strCache>
                <c:ptCount val="1"/>
                <c:pt idx="0">
                  <c:v>Frequência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5:$J$5</c:f>
              <c:numCache>
                <c:formatCode>0</c:formatCode>
                <c:ptCount val="9"/>
                <c:pt idx="0">
                  <c:v>100</c:v>
                </c:pt>
                <c:pt idx="1">
                  <c:v>107.05882352941177</c:v>
                </c:pt>
                <c:pt idx="2">
                  <c:v>107.05882352941177</c:v>
                </c:pt>
                <c:pt idx="3">
                  <c:v>103.5294117647059</c:v>
                </c:pt>
                <c:pt idx="4">
                  <c:v>101.17647058823529</c:v>
                </c:pt>
                <c:pt idx="5">
                  <c:v>102.35294117647058</c:v>
                </c:pt>
                <c:pt idx="6">
                  <c:v>96.470588235294102</c:v>
                </c:pt>
                <c:pt idx="7">
                  <c:v>97.64705882352942</c:v>
                </c:pt>
                <c:pt idx="8">
                  <c:v>98.8235294117647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28AD-544B-A931-ACE0579F69E2}"/>
            </c:ext>
          </c:extLst>
        </c:ser>
        <c:ser>
          <c:idx val="4"/>
          <c:order val="4"/>
          <c:tx>
            <c:strRef>
              <c:f>Planilha1!$A$6</c:f>
              <c:strCache>
                <c:ptCount val="1"/>
                <c:pt idx="0">
                  <c:v>Preço Médio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Planilha1!$B$1:$J$1</c:f>
              <c:strCache>
                <c:ptCount val="9"/>
                <c:pt idx="0">
                  <c:v>Q1-23</c:v>
                </c:pt>
                <c:pt idx="1">
                  <c:v>Q2-23</c:v>
                </c:pt>
                <c:pt idx="2">
                  <c:v>Q3-23</c:v>
                </c:pt>
                <c:pt idx="3">
                  <c:v>Q4-23</c:v>
                </c:pt>
                <c:pt idx="4">
                  <c:v>Q1-24</c:v>
                </c:pt>
                <c:pt idx="5">
                  <c:v>Q2-24</c:v>
                </c:pt>
                <c:pt idx="6">
                  <c:v>Q3-24</c:v>
                </c:pt>
                <c:pt idx="7">
                  <c:v>Q4-24</c:v>
                </c:pt>
                <c:pt idx="8">
                  <c:v>Q1-25</c:v>
                </c:pt>
              </c:strCache>
            </c:strRef>
          </c:cat>
          <c:val>
            <c:numRef>
              <c:f>Planilha1!$B$6:$J$6</c:f>
              <c:numCache>
                <c:formatCode>0</c:formatCode>
                <c:ptCount val="9"/>
                <c:pt idx="0">
                  <c:v>100</c:v>
                </c:pt>
                <c:pt idx="1">
                  <c:v>102</c:v>
                </c:pt>
                <c:pt idx="2">
                  <c:v>98.909090909090907</c:v>
                </c:pt>
                <c:pt idx="3">
                  <c:v>100.54545454545456</c:v>
                </c:pt>
                <c:pt idx="4">
                  <c:v>100.90909090909091</c:v>
                </c:pt>
                <c:pt idx="5">
                  <c:v>105.81818181818183</c:v>
                </c:pt>
                <c:pt idx="6">
                  <c:v>106</c:v>
                </c:pt>
                <c:pt idx="7">
                  <c:v>106.72727272727273</c:v>
                </c:pt>
                <c:pt idx="8">
                  <c:v>111.818181818181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28AD-544B-A931-ACE0579F6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7471663"/>
        <c:axId val="917466383"/>
      </c:lineChart>
      <c:catAx>
        <c:axId val="129611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96097248"/>
        <c:crosses val="autoZero"/>
        <c:auto val="1"/>
        <c:lblAlgn val="ctr"/>
        <c:lblOffset val="100"/>
        <c:noMultiLvlLbl val="0"/>
      </c:catAx>
      <c:valAx>
        <c:axId val="1296097248"/>
        <c:scaling>
          <c:orientation val="minMax"/>
          <c:max val="150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BR"/>
          </a:p>
        </c:txPr>
        <c:crossAx val="1296112128"/>
        <c:crosses val="autoZero"/>
        <c:crossBetween val="between"/>
      </c:valAx>
      <c:valAx>
        <c:axId val="917466383"/>
        <c:scaling>
          <c:orientation val="minMax"/>
          <c:max val="120"/>
          <c:min val="90"/>
        </c:scaling>
        <c:delete val="0"/>
        <c:axPos val="r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7471663"/>
        <c:crosses val="max"/>
        <c:crossBetween val="between"/>
      </c:valAx>
      <c:catAx>
        <c:axId val="917471663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917466383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958109449906655"/>
          <c:y val="0.8616404706064924"/>
          <c:w val="0.71956600627481071"/>
          <c:h val="5.12338351438981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91DDE-BA6A-4F57-909C-98F49C72955F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50D33-42BE-4A7B-9A0E-84D31BC6EF4B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55353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30" userDrawn="1">
          <p15:clr>
            <a:srgbClr val="F26B43"/>
          </p15:clr>
        </p15:guide>
        <p15:guide id="2" pos="2143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AAC5B1-F58D-4268-BB75-9856A9D794A6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900C33-90AE-4963-9AD8-3B07939F57E9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606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30" userDrawn="1">
          <p15:clr>
            <a:srgbClr val="F26B43"/>
          </p15:clr>
        </p15:guide>
        <p15:guide id="2" pos="2143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6.sv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6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6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6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2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6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2.sv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2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10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6.sv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2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0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6.sv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16.jpeg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4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21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1.svg"/><Relationship Id="rId4" Type="http://schemas.openxmlformats.org/officeDocument/2006/relationships/image" Target="../media/image1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26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27.jpeg"/><Relationship Id="rId4" Type="http://schemas.openxmlformats.org/officeDocument/2006/relationships/image" Target="../media/image15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21.sv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0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2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6.sv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(Blue-pattern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75" t="5263" r="57086" b="44062"/>
          <a:stretch>
            <a:fillRect/>
          </a:stretch>
        </p:blipFill>
        <p:spPr>
          <a:xfrm>
            <a:off x="8670926" y="1593264"/>
            <a:ext cx="3521075" cy="5255198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04143F7-A88B-EEB0-C0F3-9F6442EE85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4971C9E-F51C-A8ED-DA1E-D3453DD4B8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E222063-D546-45CF-B001-6705733F379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87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white-patter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30FCEDF-4C3D-FED4-64D0-3FCB83DD0DE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077" t="-603" r="28624" b="56301"/>
          <a:stretch>
            <a:fillRect/>
          </a:stretch>
        </p:blipFill>
        <p:spPr>
          <a:xfrm>
            <a:off x="8645698" y="2100638"/>
            <a:ext cx="3562728" cy="47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F6B48F-1D90-E19C-380B-090D0D217EF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62800" y="404813"/>
            <a:ext cx="4657725" cy="554513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4813"/>
            <a:ext cx="5643926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– Font 24</a:t>
            </a:r>
            <a:endParaRPr lang="en-GB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40B4911-8D51-27E2-1183-F09B2334C0F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475" y="1449388"/>
            <a:ext cx="661035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3B0EB7C-1A11-7EAE-C1BC-7A9C90618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A4EB63D-C4CC-EF29-853A-108DACFAF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184124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1475" y="1449388"/>
            <a:ext cx="114548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D48B0CF-EF5C-3E4C-F35A-56CD595FC1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F6F28E68-23FF-96A9-09FC-75702ED38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8E5A2F-F257-4085-0CE8-3E9AED478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414849F-70B2-25B5-874A-FB802D8679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51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49388"/>
            <a:ext cx="11453450" cy="59181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4" y="2120630"/>
            <a:ext cx="11454525" cy="3829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15050E6-055E-2683-EDF0-45C32FA10C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0CA2034E-CB64-7192-34C9-B6EB1363F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F898C43-D01B-D9E4-5061-F71AC3C4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9F15BA7-5AB4-170C-369F-393BB60E8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36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43"/>
            <a:ext cx="5632450" cy="450060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313" y="1449388"/>
            <a:ext cx="56324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8294BAE-78F1-D41B-934C-86D9D9F31D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B2E06AD-BCBC-1507-C10D-B3F45FFD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D9AC160-C40C-4950-A225-A61BF25FBF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31D0308-C643-C97D-C4CA-192FB23CD3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70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53687"/>
            <a:ext cx="563245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187703"/>
            <a:ext cx="5632450" cy="37629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7150" y="1453687"/>
            <a:ext cx="5623375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97150" y="2188254"/>
            <a:ext cx="5623375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7E337A8-C082-556F-A578-0592842D66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21D0C5A-A452-C050-6827-D926DC596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AC08F45-C62E-2889-7277-739BC8D0D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80C8576-6B75-D94E-3AD1-81352C234A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118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4" y="1449388"/>
            <a:ext cx="36608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656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54B400A-80F7-28A4-9B18-0FFE74D80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8B6BDE8-DAFD-A0C3-BD83-EADD753076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D324AD-7EA7-780F-055C-7CCEAC72A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3E59701-E962-6DF8-2866-4EA2482A5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80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1449388"/>
            <a:ext cx="36605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188254"/>
            <a:ext cx="3660888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449388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188805"/>
            <a:ext cx="3672000" cy="376043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449388"/>
            <a:ext cx="3660525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188254"/>
            <a:ext cx="3660525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C2B668-31B0-59D6-5545-80EFBAD9F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1720E77-DAD1-554E-E53C-B381824290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17CA67-7864-0408-84DA-C329ABB73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134631-7CFB-AFB1-A5B6-E74D5BB07C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51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4" y="1449388"/>
            <a:ext cx="27176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24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F0DABB5-B546-0F2F-17AE-D936FB15D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FB7EE04-0A49-7816-A8E3-42E64867E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08AC157-6879-2F5D-5DDC-EF31E902D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C084982-A1CD-F3A1-0B0D-8E6E91FC6F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26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1453725"/>
            <a:ext cx="27173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4" y="2168777"/>
            <a:ext cx="2717325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453725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169265"/>
            <a:ext cx="2728800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453725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168777"/>
            <a:ext cx="2728800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453725"/>
            <a:ext cx="2722451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169335"/>
            <a:ext cx="2722451" cy="37799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280D435-2618-C303-AFC8-63317CA2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8EDD3F3-BE1B-4966-5E82-E3268C595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C05117F-2D9D-AC59-957D-8489F6B5E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49970A-B1A8-5442-3011-3AF1DB8E6F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98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96438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2140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6363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1325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A5EB641-0C7B-DE05-D036-DF7337BE2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5AFDBA0-7D97-7DB8-CDB8-7EA484E15B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69F20B4-DB93-773B-ECCE-CCE1BF567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899ECA4-74C3-7C4E-3BAD-146C67CF3F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8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F6B48F-1D90-E19C-380B-090D0D217EF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62800" y="404813"/>
            <a:ext cx="4657725" cy="554513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4813"/>
            <a:ext cx="5643926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– Font 24</a:t>
            </a:r>
            <a:endParaRPr lang="en-GB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40B4911-8D51-27E2-1183-F09B2334C0F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475" y="1449388"/>
            <a:ext cx="661035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3B0EB7C-1A11-7EAE-C1BC-7A9C90618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A4EB63D-C4CC-EF29-853A-108DACFAF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189294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112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270234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66564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66564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7C086EE-5B0B-73B3-E889-E22A59566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D408943-1FB1-B595-463A-40C00A91C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AFA210-B009-909A-C738-97782D248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38FE446-CD9C-2392-AEDE-2838321778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390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6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920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693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466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239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012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BBA3B50-BC2A-5FC9-AB77-D62E675229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AF2D6789-AA7C-44BC-5F9C-54FB7CCB5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668A16D-406B-D944-8A80-740FAD102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5ABA811-109D-0E12-308C-65DD149C69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22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6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0098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10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8721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9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7344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8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5967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7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4588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6476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184FACB-1592-0666-C92C-E3F01D9139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DE6BD0B-E37C-1D92-3411-5CCF7CA58D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14E41-4B33-9975-BC47-2EA959981A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63E360B-DA45-7B1F-1E99-401118601B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4813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125" y="1449388"/>
            <a:ext cx="5626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9217" y="404813"/>
            <a:ext cx="5612076" cy="5545137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D89C43-6B75-64C2-06F2-EE4886F9F1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C195FCD-F765-75A8-C3C9-9D6C546D4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12060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75" y="404813"/>
            <a:ext cx="5632450" cy="5545137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711" y="1449388"/>
            <a:ext cx="5623814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725" y="404813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E54D3D3-6786-752B-ABC0-E618764A00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9CF38B3-A27C-7663-5A27-5EBFBE60D7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367847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G SH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CC66D3-273E-C4D4-E66B-ABBBFBF0D827}"/>
              </a:ext>
            </a:extLst>
          </p:cNvPr>
          <p:cNvSpPr/>
          <p:nvPr userDrawn="1"/>
        </p:nvSpPr>
        <p:spPr bwMode="ltGray">
          <a:xfrm>
            <a:off x="0" y="0"/>
            <a:ext cx="3114000" cy="675957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5124" y="1449388"/>
            <a:ext cx="2277592" cy="4500561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58A305F-3A12-9E21-E7B5-7E013624C6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11DEAC1F-0E25-FCD0-6D64-81F25D300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1524" y="6390000"/>
            <a:ext cx="575373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B70C57A-AE0D-4DD0-2A88-67D71E9859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1524" y="407734"/>
            <a:ext cx="85553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80729E3-14DD-F73C-0754-1F5909DE1D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1524" y="831600"/>
            <a:ext cx="85553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55A7A9-ADFB-FFA9-E1A6-78ADAA8F181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54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G SH 5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093C849-593E-4F8D-EA17-3F282670D20E}"/>
              </a:ext>
            </a:extLst>
          </p:cNvPr>
          <p:cNvSpPr/>
          <p:nvPr userDrawn="1"/>
        </p:nvSpPr>
        <p:spPr bwMode="ltGray">
          <a:xfrm>
            <a:off x="10068000" y="0"/>
            <a:ext cx="2124000" cy="67592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9901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8327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753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5180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28274" y="1710000"/>
            <a:ext cx="1498599" cy="39996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2C7C3BD-E613-6EF3-C207-341DBD5A82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6425961-9616-986A-F4A6-16576EC4E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6390000"/>
            <a:ext cx="672396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0B34EF4-D1CE-12A2-BA61-DBC9341B6F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951410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5F29126-EE7C-5A76-C4B1-1A9ED38531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951410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051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1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73ED98-8BCF-E8BD-14D4-4CD77DFC24B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003925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449388"/>
            <a:ext cx="5619559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6EDF654-7739-B838-8333-4AED1CAE3C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E76A25F-B2EB-5F09-007F-B11351AE56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88076" y="6390000"/>
            <a:ext cx="2837179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9049C96-168E-C9E7-E98F-E2F87A4E9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49" y="407734"/>
            <a:ext cx="56292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626010A-20D6-01FF-4672-BC1D489625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49" y="831600"/>
            <a:ext cx="562927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117A24F-C952-93E6-C1E2-18CC9D41BA0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18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2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BB5275-AF66-B209-0E4A-03CE6B6FD0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A60BEC5-43E9-FDE8-AD49-786354105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7618" y="6390000"/>
            <a:ext cx="4767637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3077C2-369E-ABA0-B59B-14453917F3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7617" y="407734"/>
            <a:ext cx="7562907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E59E24C-9AF9-1E47-FF78-024315FC34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7617" y="831600"/>
            <a:ext cx="7562907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56CA04CE-FB36-8178-F512-4F81D88C48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032250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437C3AC-B601-8C2F-515B-7F6E47A26F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48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2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51B1D62-9E8A-FDCD-7709-0134A8046C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032250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9CCBFA0-C428-80AE-97EA-C62F3FB853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5B66AF74-0993-4CE2-FD61-9511409357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7618" y="6390000"/>
            <a:ext cx="4767637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3D3FA17-05BB-B7C8-8031-BA0549AA9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7617" y="407734"/>
            <a:ext cx="7562907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EF6B223-0BCE-6AF0-74AC-D6D488BFE4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7617" y="831600"/>
            <a:ext cx="7562907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E90EEDC-9EE7-ADC4-74EE-29DC35E6FC8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86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1475" y="1449388"/>
            <a:ext cx="114548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D48B0CF-EF5C-3E4C-F35A-56CD595FC1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F6F28E68-23FF-96A9-09FC-75702ED38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8E5A2F-F257-4085-0CE8-3E9AED478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414849F-70B2-25B5-874A-FB802D8679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6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3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7768BC-0287-F616-E559-D47D0D40C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966F5C0-747C-5616-CFBC-CB59B4E3C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575285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29B8825-5398-CC9A-CF8F-726FF800C9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399" y="407734"/>
            <a:ext cx="854812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DB5AFB-3E24-E514-1CC4-E6CB251A00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2399" y="831600"/>
            <a:ext cx="854812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21E0B6B-43BA-F884-4E65-0B85782448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089275" cy="6756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41D5C9A-91ED-69C8-DD7B-B35F5196FFE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05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3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98447A7-90B8-922A-3CF5-F7CA0DBB43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089275" cy="6756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4F56256-F426-1233-957F-D96F742FA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4FC94017-3432-2201-C47B-4D4281128C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575285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9DCECEC-362F-0AB6-2B06-B73779B85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399" y="407734"/>
            <a:ext cx="854812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FAE6372-65E9-B8F2-79C7-2550BFF8C8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2399" y="831600"/>
            <a:ext cx="854812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5D5B0FC-FD4E-0805-4B78-D0EDF49ACEC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3184" b="33184"/>
          <a:stretch/>
        </p:blipFill>
        <p:spPr>
          <a:xfrm>
            <a:off x="269875" y="6311809"/>
            <a:ext cx="1460500" cy="36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5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4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749035-42A4-D2DD-D2EC-56D671810C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508250" cy="675714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950C816-E95F-D7C1-2438-FDFBBE462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8993" y="407734"/>
            <a:ext cx="9131531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BF53334-D227-FC96-57D0-2392E9C55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8993" y="831600"/>
            <a:ext cx="9131531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5C02A74-5467-A2EB-D567-1A91EE0F1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C4008E5F-E8E8-D96F-92F2-DD495EDBF5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88993" y="6390000"/>
            <a:ext cx="6336262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60E4489-95A6-FC4D-1562-CE8AE82B46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9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4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749035-42A4-D2DD-D2EC-56D671810C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508250" cy="675714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AA35DCF-0E95-5D20-AECD-C3857D9932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8EEF29B6-EDBD-1204-3C18-D37A045AE6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88994" y="6390000"/>
            <a:ext cx="633626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EF2E3B6-B924-4AD9-E3D9-AF06E6F6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8993" y="407734"/>
            <a:ext cx="9131531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3F4312E-8364-3336-2FE0-2710BBD5A0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8993" y="831600"/>
            <a:ext cx="9131531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ED6AEAB-3D69-BDF1-DEA7-F76C411A114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3184" b="33184"/>
          <a:stretch/>
        </p:blipFill>
        <p:spPr>
          <a:xfrm>
            <a:off x="269875" y="6311809"/>
            <a:ext cx="1460500" cy="36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2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28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F1D658D-666C-6EDF-5D51-7C96110EE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7718C80-BC3C-8579-D358-822B5B39DF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72640" y="6390000"/>
            <a:ext cx="695261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30793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5" name="Gráfico 16">
            <a:extLst>
              <a:ext uri="{FF2B5EF4-FFF2-40B4-BE49-F238E27FC236}">
                <a16:creationId xmlns:a16="http://schemas.microsoft.com/office/drawing/2014/main" id="{610EE794-2091-B381-858D-0F378871D88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496227552"/>
              </p:ext>
            </p:extLst>
          </p:nvPr>
        </p:nvGraphicFramePr>
        <p:xfrm>
          <a:off x="371475" y="1525838"/>
          <a:ext cx="11449050" cy="4500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9137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6" name="CuadroTexto 21">
            <a:extLst>
              <a:ext uri="{FF2B5EF4-FFF2-40B4-BE49-F238E27FC236}">
                <a16:creationId xmlns:a16="http://schemas.microsoft.com/office/drawing/2014/main" id="{4F962D4B-1B26-1658-CD3F-BB440937B30D}"/>
              </a:ext>
            </a:extLst>
          </p:cNvPr>
          <p:cNvSpPr txBox="1"/>
          <p:nvPr userDrawn="1"/>
        </p:nvSpPr>
        <p:spPr>
          <a:xfrm>
            <a:off x="4410025" y="1615005"/>
            <a:ext cx="33719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en Valor Total Canasta Mayo – Junio 2023</a:t>
            </a:r>
          </a:p>
        </p:txBody>
      </p:sp>
      <p:graphicFrame>
        <p:nvGraphicFramePr>
          <p:cNvPr id="5" name="Gráfico 7">
            <a:extLst>
              <a:ext uri="{FF2B5EF4-FFF2-40B4-BE49-F238E27FC236}">
                <a16:creationId xmlns:a16="http://schemas.microsoft.com/office/drawing/2014/main" id="{08D548EB-7D2D-9834-E0D5-B50FD6CC755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723600703"/>
              </p:ext>
            </p:extLst>
          </p:nvPr>
        </p:nvGraphicFramePr>
        <p:xfrm>
          <a:off x="371475" y="1989969"/>
          <a:ext cx="11449050" cy="3821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022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77" name="Gráfico 8">
            <a:extLst>
              <a:ext uri="{FF2B5EF4-FFF2-40B4-BE49-F238E27FC236}">
                <a16:creationId xmlns:a16="http://schemas.microsoft.com/office/drawing/2014/main" id="{4659B917-12E0-1436-7201-83DAEE186AD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167269521"/>
              </p:ext>
            </p:extLst>
          </p:nvPr>
        </p:nvGraphicFramePr>
        <p:xfrm>
          <a:off x="1102702" y="1799174"/>
          <a:ext cx="9986596" cy="4227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16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2" name="Gráfico 12">
            <a:extLst>
              <a:ext uri="{FF2B5EF4-FFF2-40B4-BE49-F238E27FC236}">
                <a16:creationId xmlns:a16="http://schemas.microsoft.com/office/drawing/2014/main" id="{8E7F3E67-6168-7CB3-044E-B99D4D31057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123128550"/>
              </p:ext>
            </p:extLst>
          </p:nvPr>
        </p:nvGraphicFramePr>
        <p:xfrm>
          <a:off x="573578" y="1687484"/>
          <a:ext cx="11055927" cy="4264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4051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49388"/>
            <a:ext cx="11453450" cy="59181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4" y="2120630"/>
            <a:ext cx="11454525" cy="3829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15050E6-055E-2683-EDF0-45C32FA10C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0CA2034E-CB64-7192-34C9-B6EB1363F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F898C43-D01B-D9E4-5061-F71AC3C4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9F15BA7-5AB4-170C-369F-393BB60E8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348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083B396-763C-1222-EAAE-FEE5FAE25B96}"/>
              </a:ext>
            </a:extLst>
          </p:cNvPr>
          <p:cNvSpPr txBox="1">
            <a:spLocks/>
          </p:cNvSpPr>
          <p:nvPr userDrawn="1"/>
        </p:nvSpPr>
        <p:spPr>
          <a:xfrm>
            <a:off x="341156" y="1842456"/>
            <a:ext cx="6208331" cy="211522"/>
          </a:xfrm>
          <a:prstGeom prst="rect">
            <a:avLst/>
          </a:prstGeom>
        </p:spPr>
        <p:txBody>
          <a:bodyPr lIns="91440" tIns="45720" rIns="91440" bIns="45720" anchor="ctr"/>
          <a:lstStyle>
            <a:defPPr>
              <a:defRPr lang="pt-B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ção Lealdade (</a:t>
            </a:r>
            <a:r>
              <a:rPr kumimoji="0" lang="pt-BR" sz="11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p</a:t>
            </a: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) - Q3’ 22 </a:t>
            </a:r>
            <a:r>
              <a:rPr kumimoji="0" lang="pt-BR" sz="11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</a:t>
            </a: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7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8E53574-7E76-A1B5-CA4D-092B4EB18432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86072717"/>
              </p:ext>
            </p:extLst>
          </p:nvPr>
        </p:nvGraphicFramePr>
        <p:xfrm>
          <a:off x="401795" y="1948217"/>
          <a:ext cx="11449049" cy="382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227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47A2F17B-BB9B-C63D-8F95-71C4795FD50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62800" y="1343991"/>
            <a:ext cx="4657725" cy="46059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C5D3EFA-05F3-789E-C2D8-886115F1924C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586338969"/>
              </p:ext>
            </p:extLst>
          </p:nvPr>
        </p:nvGraphicFramePr>
        <p:xfrm>
          <a:off x="371477" y="1343991"/>
          <a:ext cx="6791324" cy="4682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1854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25EDCDB-BFC5-9262-7791-9F2E881074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21753" t="22535" r="63909" b="22342"/>
          <a:stretch>
            <a:fillRect/>
          </a:stretch>
        </p:blipFill>
        <p:spPr>
          <a:xfrm>
            <a:off x="8489992" y="2359950"/>
            <a:ext cx="3702008" cy="449805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26DBCC0-A9F9-013B-DA00-117486A534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6AF3474-ED50-D5EE-86EC-840A8AC4C3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2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5003D3A-2103-08FF-5184-79E57BBAAB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C0CCB66-842F-32E9-27F0-A340AC69BCD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3184" b="33184"/>
          <a:stretch/>
        </p:blipFill>
        <p:spPr>
          <a:xfrm>
            <a:off x="203199" y="5605974"/>
            <a:ext cx="2672373" cy="674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57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1 (black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8976DD77-5657-F2A7-D34B-8A74CA7FF9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C94567-D795-1D72-11CF-46AE77BD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0B7858A-31F4-7423-4312-C0660FD492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574" t="33902" r="57213" b="5160"/>
          <a:stretch>
            <a:fillRect/>
          </a:stretch>
        </p:blipFill>
        <p:spPr>
          <a:xfrm>
            <a:off x="9682619" y="1"/>
            <a:ext cx="2509381" cy="4496555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EDF30F-C31F-3244-3402-89BF0C04A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74458D4-FB3E-4696-61A8-A2C96624D0A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5600992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78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1 (black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8976DD77-5657-F2A7-D34B-8A74CA7FF9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C94567-D795-1D72-11CF-46AE77BD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EDF30F-C31F-3244-3402-89BF0C04A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746733-10C6-7745-069D-FEA2BBC9392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5600992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27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1 (blac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75" t="5263" r="57086" b="44062"/>
          <a:stretch>
            <a:fillRect/>
          </a:stretch>
        </p:blipFill>
        <p:spPr>
          <a:xfrm>
            <a:off x="8670926" y="1593264"/>
            <a:ext cx="3521075" cy="5255198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8B0BC088-16E8-552A-DD81-5EEE5623D0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C7E96F6-24FB-7123-A90E-B0C49DF52C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5066E0C-EAFA-2CDF-8A72-C8607AAE9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7133E1A-B74C-A9E9-708C-A3DEC0B1AC8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559355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4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1 (black)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D1EF3F67-749B-00B5-7F9B-446B6BFA3A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CC5414-F079-4D66-D2E5-BFFA6F9D6A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37B1D988-AB96-CF42-C03E-F0F71D3BB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ADDC20-B25A-3C0B-4DF7-8834F9E5B61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559355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69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06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250532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70654"/>
            <a:ext cx="11466512" cy="396000"/>
          </a:xfrm>
        </p:spPr>
        <p:txBody>
          <a:bodyPr anchor="ctr"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297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424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43"/>
            <a:ext cx="5632450" cy="450060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313" y="1449388"/>
            <a:ext cx="56324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8294BAE-78F1-D41B-934C-86D9D9F31D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B2E06AD-BCBC-1507-C10D-B3F45FFD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D9AC160-C40C-4950-A225-A61BF25FBF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31D0308-C643-C97D-C4CA-192FB23CD3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29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- sub heading">
  <p:cSld name="2_Title only - sub heading"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0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" name="Google Shape;466;p20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  <p:sp>
        <p:nvSpPr>
          <p:cNvPr id="467" name="Google Shape;467;p20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" name="Google Shape;468;p20"/>
          <p:cNvSpPr txBox="1">
            <a:spLocks noGrp="1"/>
          </p:cNvSpPr>
          <p:nvPr>
            <p:ph type="body" idx="1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71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88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F6E336-651A-02DF-CE1C-D453A38B5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C572B-3041-491A-B98B-70569F90A3F7}" type="datetimeFigureOut">
              <a:rPr lang="en-IN" smtClean="0"/>
              <a:t>04-07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203D4-DB00-F6AA-A01D-F4C84C307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620B1-82E3-1007-CF80-D5266EABA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F447C-A0C0-438B-80B7-7A8F8FEC963D}" type="slidenum">
              <a:rPr lang="en-IN" smtClean="0"/>
              <a:t>‹Nº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08714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612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03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53687"/>
            <a:ext cx="563245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187703"/>
            <a:ext cx="5632450" cy="37629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7150" y="1453687"/>
            <a:ext cx="5623375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97150" y="2188254"/>
            <a:ext cx="5623375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7E337A8-C082-556F-A578-0592842D66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21D0C5A-A452-C050-6827-D926DC596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AC08F45-C62E-2889-7277-739BC8D0D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80C8576-6B75-D94E-3AD1-81352C234A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53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4" y="1449388"/>
            <a:ext cx="36608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656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54B400A-80F7-28A4-9B18-0FFE74D80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8B6BDE8-DAFD-A0C3-BD83-EADD753076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D324AD-7EA7-780F-055C-7CCEAC72A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3E59701-E962-6DF8-2866-4EA2482A5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01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1449388"/>
            <a:ext cx="36605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188254"/>
            <a:ext cx="3660888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449388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188805"/>
            <a:ext cx="3672000" cy="376043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449388"/>
            <a:ext cx="3660525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188254"/>
            <a:ext cx="3660525" cy="3761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– font 16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C2B668-31B0-59D6-5545-80EFBAD9F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1720E77-DAD1-554E-E53C-B381824290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17CA67-7864-0408-84DA-C329ABB73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134631-7CFB-AFB1-A5B6-E74D5BB07C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183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4" y="1449388"/>
            <a:ext cx="2717687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2451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F0DABB5-B546-0F2F-17AE-D936FB15D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FB7EE04-0A49-7816-A8E3-42E64867E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08AC157-6879-2F5D-5DDC-EF31E902D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C084982-A1CD-F3A1-0B0D-8E6E91FC6F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638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1453725"/>
            <a:ext cx="27173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4" y="2168777"/>
            <a:ext cx="2717325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453725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169265"/>
            <a:ext cx="2728800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453725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168777"/>
            <a:ext cx="2728800" cy="37811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453725"/>
            <a:ext cx="2722451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 – font 16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169335"/>
            <a:ext cx="2722451" cy="37799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280D435-2618-C303-AFC8-63317CA2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8EDD3F3-BE1B-4966-5E82-E3268C595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C05117F-2D9D-AC59-957D-8489F6B5E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49970A-B1A8-5442-3011-3AF1DB8E6F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48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 (Teal-pattern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574" t="33902" r="57213" b="5160"/>
          <a:stretch>
            <a:fillRect/>
          </a:stretch>
        </p:blipFill>
        <p:spPr>
          <a:xfrm>
            <a:off x="9543672" y="1"/>
            <a:ext cx="2648329" cy="4745535"/>
          </a:xfrm>
          <a:prstGeom prst="rect">
            <a:avLst/>
          </a:prstGeom>
        </p:spPr>
      </p:pic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001834C-D9D5-4839-9EDC-F0FB9E363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18DF8CB-F566-9FF9-B4D0-152E794598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EBF1208-45A2-D22C-5105-438419FDEB4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08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96438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2140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6363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1325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A5EB641-0C7B-DE05-D036-DF7337BE2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5AFDBA0-7D97-7DB8-CDB8-7EA484E15B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69F20B4-DB93-773B-ECCE-CCE1BF567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899ECA4-74C3-7C4E-3BAD-146C67CF3F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74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112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270234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66564" y="1449388"/>
            <a:ext cx="2149200" cy="70102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66564" y="2269746"/>
            <a:ext cx="2149200" cy="36797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7C086EE-5B0B-73B3-E889-E22A59566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D408943-1FB1-B595-463A-40C00A91C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AFA210-B009-909A-C738-97782D248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38FE446-CD9C-2392-AEDE-2838321778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416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6 col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920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693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466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239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012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BBA3B50-BC2A-5FC9-AB77-D62E675229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AF2D6789-AA7C-44BC-5F9C-54FB7CCB5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668A16D-406B-D944-8A80-740FAD102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5ABA811-109D-0E12-308C-65DD149C69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08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6 col SH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0098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10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8721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9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7344" y="1453723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8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5967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7475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4588" y="1453724"/>
            <a:ext cx="1760400" cy="67146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6476" y="2226091"/>
            <a:ext cx="1760400" cy="37238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184FACB-1592-0666-C92C-E3F01D9139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DE6BD0B-E37C-1D92-3411-5CCF7CA58D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14E41-4B33-9975-BC47-2EA959981A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63E360B-DA45-7B1F-1E99-401118601B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2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4813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125" y="1449388"/>
            <a:ext cx="5626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9217" y="404813"/>
            <a:ext cx="5612076" cy="5545137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D89C43-6B75-64C2-06F2-EE4886F9F1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C195FCD-F765-75A8-C3C9-9D6C546D4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37645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75" y="404813"/>
            <a:ext cx="5632450" cy="5545137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711" y="1449388"/>
            <a:ext cx="5623814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725" y="404813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E54D3D3-6786-752B-ABC0-E618764A00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9CF38B3-A27C-7663-5A27-5EBFBE60D7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92555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G SH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CC66D3-273E-C4D4-E66B-ABBBFBF0D827}"/>
              </a:ext>
            </a:extLst>
          </p:cNvPr>
          <p:cNvSpPr/>
          <p:nvPr userDrawn="1"/>
        </p:nvSpPr>
        <p:spPr bwMode="ltGray">
          <a:xfrm>
            <a:off x="0" y="0"/>
            <a:ext cx="3114000" cy="675957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5124" y="1449388"/>
            <a:ext cx="2277592" cy="4500561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58A305F-3A12-9E21-E7B5-7E013624C6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11DEAC1F-0E25-FCD0-6D64-81F25D300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1524" y="6390000"/>
            <a:ext cx="575373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B70C57A-AE0D-4DD0-2A88-67D71E9859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1524" y="407734"/>
            <a:ext cx="85553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80729E3-14DD-F73C-0754-1F5909DE1D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1524" y="831600"/>
            <a:ext cx="85553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384A09D-5694-C02A-0152-E28293A02A0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49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G SH 5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093C849-593E-4F8D-EA17-3F282670D20E}"/>
              </a:ext>
            </a:extLst>
          </p:cNvPr>
          <p:cNvSpPr/>
          <p:nvPr userDrawn="1"/>
        </p:nvSpPr>
        <p:spPr bwMode="ltGray">
          <a:xfrm>
            <a:off x="10068000" y="0"/>
            <a:ext cx="2124000" cy="67592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9901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8327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753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5180" y="1449388"/>
            <a:ext cx="17604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28274" y="1710000"/>
            <a:ext cx="1498599" cy="39996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2C7C3BD-E613-6EF3-C207-341DBD5A82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6425961-9616-986A-F4A6-16576EC4E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6390000"/>
            <a:ext cx="672396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0B34EF4-D1CE-12A2-BA61-DBC9341B6F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951410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5F29126-EE7C-5A76-C4B1-1A9ED38531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831600"/>
            <a:ext cx="951410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0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1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73ED98-8BCF-E8BD-14D4-4CD77DFC24B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003925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449388"/>
            <a:ext cx="5619559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6EDF654-7739-B838-8333-4AED1CAE3C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E76A25F-B2EB-5F09-007F-B11351AE56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88076" y="6390000"/>
            <a:ext cx="2837179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9049C96-168E-C9E7-E98F-E2F87A4E9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49" y="407734"/>
            <a:ext cx="56292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626010A-20D6-01FF-4672-BC1D489625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49" y="831600"/>
            <a:ext cx="562927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CDAE09B-D789-5FA0-112D-503A13AD814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00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2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BB5275-AF66-B209-0E4A-03CE6B6FD0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A60BEC5-43E9-FDE8-AD49-786354105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7618" y="6390000"/>
            <a:ext cx="4767637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3077C2-369E-ABA0-B59B-14453917F3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7617" y="407734"/>
            <a:ext cx="7562907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E59E24C-9AF9-1E47-FF78-024315FC34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7617" y="831600"/>
            <a:ext cx="7562907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56CA04CE-FB36-8178-F512-4F81D88C48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032250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EBACE52-CCE8-DBC7-29C2-D81C0A5CCF3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98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1 (White-patter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50AE92-B676-F52E-7F87-1418597EB9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DC5F15-283F-8AF2-5DA2-4DC211B7D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21753" t="22535" r="63909" b="22342"/>
          <a:stretch>
            <a:fillRect/>
          </a:stretch>
        </p:blipFill>
        <p:spPr>
          <a:xfrm>
            <a:off x="8471825" y="2337877"/>
            <a:ext cx="3720175" cy="4520123"/>
          </a:xfrm>
          <a:prstGeom prst="rect">
            <a:avLst/>
          </a:prstGeom>
        </p:spPr>
      </p:pic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69B45009-61C9-4172-E907-6B408391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2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EFBC8441-36F6-E0B3-E9F9-D01FAF6FD2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A5078D1-1219-C8D1-7A90-9A08A2362B9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3184" b="33184"/>
          <a:stretch/>
        </p:blipFill>
        <p:spPr>
          <a:xfrm>
            <a:off x="203199" y="507030"/>
            <a:ext cx="2672373" cy="674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2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51B1D62-9E8A-FDCD-7709-0134A8046C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032250" cy="676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449388"/>
            <a:ext cx="36720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9CCBFA0-C428-80AE-97EA-C62F3FB853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5B66AF74-0993-4CE2-FD61-9511409357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7618" y="6390000"/>
            <a:ext cx="4767637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3D3FA17-05BB-B7C8-8031-BA0549AA9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7617" y="407734"/>
            <a:ext cx="7562907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EF6B223-0BCE-6AF0-74AC-D6D488BFE4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7617" y="831600"/>
            <a:ext cx="7562907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6F90CBF-E719-4144-1543-264E2054C3B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6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3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7768BC-0287-F616-E559-D47D0D40C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966F5C0-747C-5616-CFBC-CB59B4E3C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575285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29B8825-5398-CC9A-CF8F-726FF800C9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399" y="407734"/>
            <a:ext cx="854812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DB5AFB-3E24-E514-1CC4-E6CB251A00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2399" y="831600"/>
            <a:ext cx="854812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21E0B6B-43BA-F884-4E65-0B85782448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089275" cy="6756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8629199-0338-E3D8-F814-8B1E40BFF3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59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3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98447A7-90B8-922A-3CF5-F7CA0DBB43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089275" cy="6756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449388"/>
            <a:ext cx="27288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4F56256-F426-1233-957F-D96F742FA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4FC94017-3432-2201-C47B-4D4281128C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575285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9DCECEC-362F-0AB6-2B06-B73779B85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399" y="407734"/>
            <a:ext cx="854812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FAE6372-65E9-B8F2-79C7-2550BFF8C8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2399" y="831600"/>
            <a:ext cx="8548125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540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4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749035-42A4-D2DD-D2EC-56D671810C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508250" cy="675714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950C816-E95F-D7C1-2438-FDFBBE462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8993" y="407734"/>
            <a:ext cx="9131531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BF53334-D227-FC96-57D0-2392E9C55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8993" y="831600"/>
            <a:ext cx="9131531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5C02A74-5467-A2EB-D567-1A91EE0F1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C4008E5F-E8E8-D96F-92F2-DD495EDBF5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88993" y="6390000"/>
            <a:ext cx="6336262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EEE3661-D82F-2A2E-0018-E5B740FA705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266700" y="6301440"/>
            <a:ext cx="1466850" cy="39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80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SH 4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449388"/>
            <a:ext cx="2149200" cy="4500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749035-42A4-D2DD-D2EC-56D671810C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508250" cy="675714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AA35DCF-0E95-5D20-AECD-C3857D9932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8EEF29B6-EDBD-1204-3C18-D37A045AE6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88994" y="6390000"/>
            <a:ext cx="633626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EF2E3B6-B924-4AD9-E3D9-AF06E6F6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8993" y="407734"/>
            <a:ext cx="9131531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3F4312E-8364-3336-2FE0-2710BBD5A0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8993" y="831600"/>
            <a:ext cx="9131531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96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637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F1D658D-666C-6EDF-5D51-7C96110EE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7718C80-BC3C-8579-D358-822B5B39DF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72640" y="6390000"/>
            <a:ext cx="6952615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</p:spTree>
    <p:extLst>
      <p:ext uri="{BB962C8B-B14F-4D97-AF65-F5344CB8AC3E}">
        <p14:creationId xmlns:p14="http://schemas.microsoft.com/office/powerpoint/2010/main" val="373730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5" name="Gráfico 16">
            <a:extLst>
              <a:ext uri="{FF2B5EF4-FFF2-40B4-BE49-F238E27FC236}">
                <a16:creationId xmlns:a16="http://schemas.microsoft.com/office/drawing/2014/main" id="{610EE794-2091-B381-858D-0F378871D88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496227552"/>
              </p:ext>
            </p:extLst>
          </p:nvPr>
        </p:nvGraphicFramePr>
        <p:xfrm>
          <a:off x="371475" y="1525838"/>
          <a:ext cx="11449050" cy="4500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570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6" name="CuadroTexto 21">
            <a:extLst>
              <a:ext uri="{FF2B5EF4-FFF2-40B4-BE49-F238E27FC236}">
                <a16:creationId xmlns:a16="http://schemas.microsoft.com/office/drawing/2014/main" id="{4F962D4B-1B26-1658-CD3F-BB440937B30D}"/>
              </a:ext>
            </a:extLst>
          </p:cNvPr>
          <p:cNvSpPr txBox="1"/>
          <p:nvPr userDrawn="1"/>
        </p:nvSpPr>
        <p:spPr>
          <a:xfrm>
            <a:off x="4410025" y="1615005"/>
            <a:ext cx="33719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en Valor Total Canasta Mayo – Junio 2023</a:t>
            </a:r>
          </a:p>
        </p:txBody>
      </p:sp>
      <p:graphicFrame>
        <p:nvGraphicFramePr>
          <p:cNvPr id="5" name="Gráfico 7">
            <a:extLst>
              <a:ext uri="{FF2B5EF4-FFF2-40B4-BE49-F238E27FC236}">
                <a16:creationId xmlns:a16="http://schemas.microsoft.com/office/drawing/2014/main" id="{08D548EB-7D2D-9834-E0D5-B50FD6CC755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723600703"/>
              </p:ext>
            </p:extLst>
          </p:nvPr>
        </p:nvGraphicFramePr>
        <p:xfrm>
          <a:off x="371475" y="1989969"/>
          <a:ext cx="11449050" cy="3821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77" name="Gráfico 8">
            <a:extLst>
              <a:ext uri="{FF2B5EF4-FFF2-40B4-BE49-F238E27FC236}">
                <a16:creationId xmlns:a16="http://schemas.microsoft.com/office/drawing/2014/main" id="{4659B917-12E0-1436-7201-83DAEE186AD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167269521"/>
              </p:ext>
            </p:extLst>
          </p:nvPr>
        </p:nvGraphicFramePr>
        <p:xfrm>
          <a:off x="1102702" y="1799174"/>
          <a:ext cx="9986596" cy="4227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3175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1 (gradient)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27E58F06-D743-25E5-C441-16EE45E92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907C2078-A8A8-13DD-E31C-5753F8CD1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B533A0C-1666-046E-1FBB-43C8297238F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13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graphicFrame>
        <p:nvGraphicFramePr>
          <p:cNvPr id="2" name="Gráfico 12">
            <a:extLst>
              <a:ext uri="{FF2B5EF4-FFF2-40B4-BE49-F238E27FC236}">
                <a16:creationId xmlns:a16="http://schemas.microsoft.com/office/drawing/2014/main" id="{8E7F3E67-6168-7CB3-044E-B99D4D31057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123128550"/>
              </p:ext>
            </p:extLst>
          </p:nvPr>
        </p:nvGraphicFramePr>
        <p:xfrm>
          <a:off x="573578" y="1687484"/>
          <a:ext cx="11055927" cy="4264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608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083B396-763C-1222-EAAE-FEE5FAE25B96}"/>
              </a:ext>
            </a:extLst>
          </p:cNvPr>
          <p:cNvSpPr txBox="1">
            <a:spLocks/>
          </p:cNvSpPr>
          <p:nvPr userDrawn="1"/>
        </p:nvSpPr>
        <p:spPr>
          <a:xfrm>
            <a:off x="341156" y="1842456"/>
            <a:ext cx="6208331" cy="211522"/>
          </a:xfrm>
          <a:prstGeom prst="rect">
            <a:avLst/>
          </a:prstGeom>
        </p:spPr>
        <p:txBody>
          <a:bodyPr lIns="91440" tIns="45720" rIns="91440" bIns="45720" anchor="ctr"/>
          <a:lstStyle>
            <a:defPPr>
              <a:defRPr lang="pt-B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ção Lealdade (</a:t>
            </a:r>
            <a:r>
              <a:rPr kumimoji="0" lang="pt-BR" sz="11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p</a:t>
            </a: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) - Q3’ 22 </a:t>
            </a:r>
            <a:r>
              <a:rPr kumimoji="0" lang="pt-BR" sz="11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</a:t>
            </a: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7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8E53574-7E76-A1B5-CA4D-092B4EB18432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86072717"/>
              </p:ext>
            </p:extLst>
          </p:nvPr>
        </p:nvGraphicFramePr>
        <p:xfrm>
          <a:off x="401795" y="1948217"/>
          <a:ext cx="11449049" cy="382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07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Data 1 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20E12C-10AE-1A80-82DF-A6AD2AEC3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ED92EA2-F32D-5756-1C1C-6718F01A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48C99C-96A1-2C11-3601-C3DBF1765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07734"/>
            <a:ext cx="1144905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– Font 24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FA18F3-D287-9260-9022-8A7E11D0A7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831600"/>
            <a:ext cx="11449050" cy="29680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 – Font 18</a:t>
            </a:r>
            <a:endParaRPr lang="en-GB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47A2F17B-BB9B-C63D-8F95-71C4795FD50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62800" y="1343991"/>
            <a:ext cx="4657725" cy="46059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C5D3EFA-05F3-789E-C2D8-886115F1924C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586338969"/>
              </p:ext>
            </p:extLst>
          </p:nvPr>
        </p:nvGraphicFramePr>
        <p:xfrm>
          <a:off x="371477" y="1343991"/>
          <a:ext cx="6791324" cy="4682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7071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25EDCDB-BFC5-9262-7791-9F2E881074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21753" t="22535" r="63909" b="22342"/>
          <a:stretch>
            <a:fillRect/>
          </a:stretch>
        </p:blipFill>
        <p:spPr>
          <a:xfrm>
            <a:off x="8489992" y="2359950"/>
            <a:ext cx="3702008" cy="449805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26DBCC0-A9F9-013B-DA00-117486A534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6AF3474-ED50-D5EE-86EC-840A8AC4C3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2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5003D3A-2103-08FF-5184-79E57BBAAB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8DB9194-B7A7-F021-2AE3-5E4E43818AD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3184" b="33184"/>
          <a:stretch/>
        </p:blipFill>
        <p:spPr>
          <a:xfrm>
            <a:off x="203199" y="5605974"/>
            <a:ext cx="2672373" cy="674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07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1 (black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8976DD77-5657-F2A7-D34B-8A74CA7FF9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C94567-D795-1D72-11CF-46AE77BD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0B7858A-31F4-7423-4312-C0660FD492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574" t="33902" r="57213" b="5160"/>
          <a:stretch>
            <a:fillRect/>
          </a:stretch>
        </p:blipFill>
        <p:spPr>
          <a:xfrm>
            <a:off x="9682619" y="1"/>
            <a:ext cx="2509381" cy="4496555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EDF30F-C31F-3244-3402-89BF0C04A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776C75-75EA-7521-7BDE-A0340015D9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5600992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12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1 (black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8976DD77-5657-F2A7-D34B-8A74CA7FF9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C94567-D795-1D72-11CF-46AE77BD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EDF30F-C31F-3244-3402-89BF0C04A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A07762A-0B65-7372-06B3-BE1430E659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5600992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1 (blac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75" t="5263" r="57086" b="44062"/>
          <a:stretch>
            <a:fillRect/>
          </a:stretch>
        </p:blipFill>
        <p:spPr>
          <a:xfrm>
            <a:off x="8670926" y="1593264"/>
            <a:ext cx="3521075" cy="5255198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8B0BC088-16E8-552A-DD81-5EEE5623D0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C7E96F6-24FB-7123-A90E-B0C49DF52C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5066E0C-EAFA-2CDF-8A72-C8607AAE9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1DFB4E-EA53-F5EF-902C-E80752B8891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559355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52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1 (black)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D1EF3F67-749B-00B5-7F9B-446B6BFA3A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363735"/>
            <a:ext cx="3520800" cy="30912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CC5414-F079-4D66-D2E5-BFFA6F9D6A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644587"/>
            <a:ext cx="3520800" cy="531172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37B1D988-AB96-CF42-C03E-F0F71D3BB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764572"/>
            <a:ext cx="3521075" cy="309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  <a:endParaRPr lang="pt-BR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B339E60-1F2A-2374-981A-04AC6E28D0C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559355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8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60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CC9C48B-8F01-477C-A429-B5E465F5632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67E2D2-7C31-4CEA-8775-7B4E031C03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3475" y="1490401"/>
            <a:ext cx="63612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82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2258559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40192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70D5EF-31CA-E0AA-1B3E-3A401248E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EDE2603-7D9C-6024-C818-59FE17E7CB71}"/>
              </a:ext>
            </a:extLst>
          </p:cNvPr>
          <p:cNvSpPr/>
          <p:nvPr userDrawn="1"/>
        </p:nvSpPr>
        <p:spPr bwMode="ltGray">
          <a:xfrm>
            <a:off x="0" y="0"/>
            <a:ext cx="6250329" cy="6858000"/>
          </a:xfrm>
          <a:prstGeom prst="rect">
            <a:avLst/>
          </a:prstGeom>
          <a:gradFill>
            <a:gsLst>
              <a:gs pos="0">
                <a:srgbClr val="000000">
                  <a:alpha val="70000"/>
                </a:srgbClr>
              </a:gs>
              <a:gs pos="45000">
                <a:srgbClr val="000000">
                  <a:alpha val="0"/>
                </a:srgbClr>
              </a:gs>
            </a:gsLst>
            <a:lin ang="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err="1"/>
          </a:p>
        </p:txBody>
      </p:sp>
      <p:pic>
        <p:nvPicPr>
          <p:cNvPr id="9" name="Picture 8" descr="A black arrow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F778E5E-DBBD-1BD0-0635-7CA0B7AC2AC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9255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919E3D3-0D4F-48CE-AB93-69E448E9847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104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5367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6553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CC9C48B-8F01-477C-A429-B5E465F5632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67E2D2-7C31-4CEA-8775-7B4E031C03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3475" y="1490401"/>
            <a:ext cx="63612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08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70D5EF-31CA-E0AA-1B3E-3A401248E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EDE2603-7D9C-6024-C818-59FE17E7CB71}"/>
              </a:ext>
            </a:extLst>
          </p:cNvPr>
          <p:cNvSpPr/>
          <p:nvPr userDrawn="1"/>
        </p:nvSpPr>
        <p:spPr bwMode="ltGray">
          <a:xfrm>
            <a:off x="0" y="0"/>
            <a:ext cx="6250329" cy="6858000"/>
          </a:xfrm>
          <a:prstGeom prst="rect">
            <a:avLst/>
          </a:prstGeom>
          <a:gradFill>
            <a:gsLst>
              <a:gs pos="0">
                <a:srgbClr val="000000">
                  <a:alpha val="70000"/>
                </a:srgbClr>
              </a:gs>
              <a:gs pos="45000">
                <a:srgbClr val="000000">
                  <a:alpha val="0"/>
                </a:srgbClr>
              </a:gs>
            </a:gsLst>
            <a:lin ang="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err="1"/>
          </a:p>
        </p:txBody>
      </p:sp>
      <p:pic>
        <p:nvPicPr>
          <p:cNvPr id="9" name="Picture 8" descr="A black arrow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F778E5E-DBBD-1BD0-0635-7CA0B7AC2AC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9255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919E3D3-0D4F-48CE-AB93-69E448E9847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104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5367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9150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307952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18215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81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35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0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36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25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teal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32493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912300F7-3268-F44D-8D39-4F53F54278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363" y="1710000"/>
            <a:ext cx="3671887" cy="400023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817025F9-7A61-4D43-82B6-F8D64FF7C62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7731" y="1710000"/>
            <a:ext cx="3671887" cy="4000238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AF7C6A2-24CC-CE45-BC0E-1192B558EA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54113" y="1710000"/>
            <a:ext cx="3671887" cy="400023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5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912300F7-3268-F44D-8D39-4F53F54278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363" y="1101013"/>
            <a:ext cx="3671887" cy="4609225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817025F9-7A61-4D43-82B6-F8D64FF7C62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7731" y="1101013"/>
            <a:ext cx="3671887" cy="46092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AF7C6A2-24CC-CE45-BC0E-1192B558EA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54113" y="1101013"/>
            <a:ext cx="3671887" cy="46092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56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529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35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500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65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81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41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66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681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(Gradient)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4307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740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62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92BB-BFD6-2927-3A21-3EBB7D24B6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Kick">
            <a:extLst>
              <a:ext uri="{FF2B5EF4-FFF2-40B4-BE49-F238E27FC236}">
                <a16:creationId xmlns:a16="http://schemas.microsoft.com/office/drawing/2014/main" id="{D6E4C6C4-422B-CEDC-43DB-1AFEEB8913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 hasCustomPrompt="1"/>
          </p:nvPr>
        </p:nvSpPr>
        <p:spPr>
          <a:xfrm>
            <a:off x="0" y="0"/>
            <a:ext cx="3881438" cy="685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61544F70-E3D0-9F87-1D9D-CDA395FD9A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613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59">
            <a:extLst>
              <a:ext uri="{FF2B5EF4-FFF2-40B4-BE49-F238E27FC236}">
                <a16:creationId xmlns:a16="http://schemas.microsoft.com/office/drawing/2014/main" id="{2333B51F-E104-6E44-8A83-8AD9AB3F273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49762" y="1709999"/>
            <a:ext cx="3676238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66" name="Picture Placeholder 59">
            <a:extLst>
              <a:ext uri="{FF2B5EF4-FFF2-40B4-BE49-F238E27FC236}">
                <a16:creationId xmlns:a16="http://schemas.microsoft.com/office/drawing/2014/main" id="{7F1804E4-9A90-4D4F-B8E5-16711FF20CFB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149762" y="3793442"/>
            <a:ext cx="3676238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62" name="Picture Placeholder 59">
            <a:extLst>
              <a:ext uri="{FF2B5EF4-FFF2-40B4-BE49-F238E27FC236}">
                <a16:creationId xmlns:a16="http://schemas.microsoft.com/office/drawing/2014/main" id="{DEEBB661-C98F-994E-A24C-C890809B7DC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249092" y="1709999"/>
            <a:ext cx="3674809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65" name="Picture Placeholder 59">
            <a:extLst>
              <a:ext uri="{FF2B5EF4-FFF2-40B4-BE49-F238E27FC236}">
                <a16:creationId xmlns:a16="http://schemas.microsoft.com/office/drawing/2014/main" id="{DB180D42-CC94-7E49-A326-AC693DFFABB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249092" y="3793442"/>
            <a:ext cx="3674809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61" name="Picture Placeholder 59">
            <a:extLst>
              <a:ext uri="{FF2B5EF4-FFF2-40B4-BE49-F238E27FC236}">
                <a16:creationId xmlns:a16="http://schemas.microsoft.com/office/drawing/2014/main" id="{F84D8344-98B3-A74D-828D-756A206902D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59999" y="1709999"/>
            <a:ext cx="3674002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64" name="Picture Placeholder 59">
            <a:extLst>
              <a:ext uri="{FF2B5EF4-FFF2-40B4-BE49-F238E27FC236}">
                <a16:creationId xmlns:a16="http://schemas.microsoft.com/office/drawing/2014/main" id="{93F02409-AF88-8B4F-B42D-F49E1B46DA63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59999" y="3793442"/>
            <a:ext cx="3674002" cy="193602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448F8A-E44C-5B4D-AF6E-4B38645B1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9AA115-B65A-124D-8EE5-8BE449215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47ED3F-B27F-4B49-BE74-214A8E5A4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8" name="Text Placeholder 17">
            <a:extLst>
              <a:ext uri="{FF2B5EF4-FFF2-40B4-BE49-F238E27FC236}">
                <a16:creationId xmlns:a16="http://schemas.microsoft.com/office/drawing/2014/main" id="{BC2F5CA6-BCE8-864B-99E6-7E8FE8E114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32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20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ck_Title and blank">
    <p:bg>
      <p:bgPr>
        <a:solidFill>
          <a:srgbClr val="140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Kantar Brown Light" panose="020B0404020101010102" pitchFamily="34" charset="77"/>
                <a:cs typeface="Kantar Brown Light" panose="020B0404020101010102" pitchFamily="34" charset="77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600" b="1" i="0">
                <a:latin typeface="Kantar Brown" panose="020B0504020101010102" pitchFamily="34" charset="77"/>
                <a:cs typeface="Kantar Brown" panose="020B0504020101010102" pitchFamily="34" charset="77"/>
              </a:defRPr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C5CDCA-A0C0-CB4A-B46F-B59FEC135AF7}"/>
              </a:ext>
            </a:extLst>
          </p:cNvPr>
          <p:cNvCxnSpPr>
            <a:cxnSpLocks/>
          </p:cNvCxnSpPr>
          <p:nvPr userDrawn="1">
            <p:custDataLst>
              <p:tags r:id="rId1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02485207-4E2B-7941-B795-276C8126178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1" y="6390412"/>
            <a:ext cx="1080270" cy="20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824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CB13C9B-184D-41CD-AF76-E3730A913B6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0" cap="flat">
                <a:solidFill>
                  <a:srgbClr val="FFFFFF"/>
                </a:solidFill>
                <a:prstDash val="solid"/>
                <a:miter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48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6564A35-867D-4FB8-BD9A-08422621EC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204BD9-791F-4462-94DF-8A2200C9C0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3475" y="1490401"/>
            <a:ext cx="63612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42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2FDC543-6229-4C59-8D65-CAA5F0012C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07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Internal On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37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teal-pattern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90" t="-710" r="28736" b="56646"/>
          <a:stretch>
            <a:fillRect/>
          </a:stretch>
        </p:blipFill>
        <p:spPr>
          <a:xfrm>
            <a:off x="8629273" y="2100638"/>
            <a:ext cx="3562728" cy="47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81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Internal On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545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Internal Only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90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Internal On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20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5208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43115F-1857-45ED-89B0-9463438A55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580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443115F-1857-45ED-89B0-9463438A5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9999" y="2681103"/>
            <a:ext cx="3397882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8FF0FE-82A1-416A-B131-CBA60ACE0F63}"/>
              </a:ext>
            </a:extLst>
          </p:cNvPr>
          <p:cNvSpPr txBox="1"/>
          <p:nvPr userDrawn="1"/>
        </p:nvSpPr>
        <p:spPr>
          <a:xfrm>
            <a:off x="11445873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808D8F-926E-462C-9A92-AC84FDDF1F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5280" y="6378195"/>
            <a:ext cx="1081089" cy="2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097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F6E336-651A-02DF-CE1C-D453A38B5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C572B-3041-491A-B98B-70569F90A3F7}" type="datetimeFigureOut">
              <a:rPr lang="en-IN" smtClean="0"/>
              <a:t>04-07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203D4-DB00-F6AA-A01D-F4C84C307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620B1-82E3-1007-CF80-D5266EABA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F447C-A0C0-438B-80B7-7A8F8FEC963D}" type="slidenum">
              <a:rPr lang="en-IN" smtClean="0"/>
              <a:t>‹Nº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56637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38"/>
          <p:cNvSpPr txBox="1">
            <a:spLocks noGrp="1"/>
          </p:cNvSpPr>
          <p:nvPr>
            <p:ph type="title"/>
          </p:nvPr>
        </p:nvSpPr>
        <p:spPr>
          <a:xfrm>
            <a:off x="457200" y="366713"/>
            <a:ext cx="11276013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8"/>
          <p:cNvSpPr txBox="1">
            <a:spLocks noGrp="1"/>
          </p:cNvSpPr>
          <p:nvPr>
            <p:ph type="body" idx="1"/>
          </p:nvPr>
        </p:nvSpPr>
        <p:spPr>
          <a:xfrm>
            <a:off x="457200" y="1527175"/>
            <a:ext cx="11276013" cy="4460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40083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1E756-E947-FD4A-8A23-D2C983A1A8BD}" type="datetimeFigureOut">
              <a:rPr lang="en-US" smtClean="0"/>
              <a:t>7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0669D-EC37-AA42-8CD3-B0788BD38FC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0803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5">
            <a:extLst>
              <a:ext uri="{FF2B5EF4-FFF2-40B4-BE49-F238E27FC236}">
                <a16:creationId xmlns:a16="http://schemas.microsoft.com/office/drawing/2014/main" id="{5B439F77-A344-2540-9CC1-F05D931BF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675" y="79200"/>
            <a:ext cx="11495492" cy="347137"/>
          </a:xfrm>
        </p:spPr>
        <p:txBody>
          <a:bodyPr tIns="72000" bIns="0" anchor="b" anchorCtr="0">
            <a:noAutofit/>
          </a:bodyPr>
          <a:lstStyle>
            <a:lvl1pPr>
              <a:defRPr sz="800" cap="all" spc="300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cap="all" baseline="0"/>
              <a:t>Running Head</a:t>
            </a:r>
            <a:endParaRPr lang="en-US"/>
          </a:p>
        </p:txBody>
      </p:sp>
      <p:sp>
        <p:nvSpPr>
          <p:cNvPr id="64" name="Title 63">
            <a:extLst>
              <a:ext uri="{FF2B5EF4-FFF2-40B4-BE49-F238E27FC236}">
                <a16:creationId xmlns:a16="http://schemas.microsoft.com/office/drawing/2014/main" id="{D4E2EA81-421A-2A4B-9517-E3A2C77A9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3E806E-8FC6-F145-9883-5433A36C6D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098" y="1546868"/>
            <a:ext cx="11396645" cy="458247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620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- sub heading">
  <p:cSld name="Title only - sub heading">
    <p:spTree>
      <p:nvGrpSpPr>
        <p:cNvPr id="1" name="Shape 1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6" name="Google Shape;1406;p5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5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  <p:sp>
        <p:nvSpPr>
          <p:cNvPr id="1408" name="Google Shape;1408;p52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9" name="Google Shape;1409;p52"/>
          <p:cNvSpPr txBox="1">
            <a:spLocks noGrp="1"/>
          </p:cNvSpPr>
          <p:nvPr>
            <p:ph type="body" idx="1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986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blue-pattern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8" t="-852" r="28732" b="56719"/>
          <a:stretch>
            <a:fillRect/>
          </a:stretch>
        </p:blipFill>
        <p:spPr>
          <a:xfrm>
            <a:off x="8640223" y="2100640"/>
            <a:ext cx="3562727" cy="475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3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(Blue-pattern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75" t="5263" r="57086" b="44062"/>
          <a:stretch>
            <a:fillRect/>
          </a:stretch>
        </p:blipFill>
        <p:spPr>
          <a:xfrm>
            <a:off x="8670926" y="1593264"/>
            <a:ext cx="3521075" cy="5255198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04143F7-A88B-EEB0-C0F3-9F6442EE85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4971C9E-F51C-A8ED-DA1E-D3453DD4B8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9BAAC05-3747-F8AD-52FD-D9AA27F41B8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9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 (Teal-pattern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668B51-867D-F02C-A4C0-DA9EE2611E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574" t="33902" r="57213" b="5160"/>
          <a:stretch>
            <a:fillRect/>
          </a:stretch>
        </p:blipFill>
        <p:spPr>
          <a:xfrm>
            <a:off x="9543672" y="1"/>
            <a:ext cx="2648329" cy="4745535"/>
          </a:xfrm>
          <a:prstGeom prst="rect">
            <a:avLst/>
          </a:prstGeom>
        </p:spPr>
      </p:pic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001834C-D9D5-4839-9EDC-F0FB9E363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18DF8CB-F566-9FF9-B4D0-152E794598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DC0B21B-1813-0BF1-E40D-9D1D24634B6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76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1 (White-patter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50AE92-B676-F52E-7F87-1418597EB9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DC5F15-283F-8AF2-5DA2-4DC211B7D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21753" t="22535" r="63909" b="22342"/>
          <a:stretch>
            <a:fillRect/>
          </a:stretch>
        </p:blipFill>
        <p:spPr>
          <a:xfrm>
            <a:off x="8471825" y="2337877"/>
            <a:ext cx="3720175" cy="4520123"/>
          </a:xfrm>
          <a:prstGeom prst="rect">
            <a:avLst/>
          </a:prstGeom>
        </p:spPr>
      </p:pic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69B45009-61C9-4172-E907-6B408391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2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EFBC8441-36F6-E0B3-E9F9-D01FAF6FD2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C8BB72C-A1B9-CD5E-F50F-90B3FA1B3DB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3184" b="33184"/>
          <a:stretch/>
        </p:blipFill>
        <p:spPr>
          <a:xfrm>
            <a:off x="203199" y="507030"/>
            <a:ext cx="2672373" cy="674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3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1 (gradient)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1E5967-7F18-5D21-979E-92E1AAF8E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225" y="49572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27E58F06-D743-25E5-C441-16EE45E92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225" y="2367419"/>
            <a:ext cx="4565650" cy="57451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907C2078-A8A8-13DD-E31C-5753F8CD1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225" y="3023510"/>
            <a:ext cx="4565650" cy="494624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01DA4D0-FE80-01AD-7A44-006D4B57BF6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70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2258559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32450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teal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61688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(Gradient)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90164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teal-pattern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90" t="-710" r="28736" b="56646"/>
          <a:stretch>
            <a:fillRect/>
          </a:stretch>
        </p:blipFill>
        <p:spPr>
          <a:xfrm>
            <a:off x="8629273" y="2100638"/>
            <a:ext cx="3562728" cy="47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79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blue-pattern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8" t="-852" r="28732" b="56719"/>
          <a:stretch>
            <a:fillRect/>
          </a:stretch>
        </p:blipFill>
        <p:spPr>
          <a:xfrm>
            <a:off x="8640223" y="2100640"/>
            <a:ext cx="3562727" cy="475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81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white-patter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30FCEDF-4C3D-FED4-64D0-3FCB83DD0DE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2257200"/>
            <a:ext cx="5632450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840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2">
                    <a:lumMod val="50000"/>
                  </a:schemeClr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42F9CB-0589-F398-57FD-3EC1EFF96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077" t="-603" r="28624" b="56301"/>
          <a:stretch>
            <a:fillRect/>
          </a:stretch>
        </p:blipFill>
        <p:spPr>
          <a:xfrm>
            <a:off x="8645698" y="2100638"/>
            <a:ext cx="3562728" cy="47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0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image" Target="../media/image14.sv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image" Target="../media/image13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ags" Target="../tags/tag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ags" Target="../tags/tag27.xml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6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85.xml"/><Relationship Id="rId19" Type="http://schemas.openxmlformats.org/officeDocument/2006/relationships/image" Target="../media/image14.sv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theme" Target="../theme/theme4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.sv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ags" Target="../tags/tag33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71475" y="407734"/>
            <a:ext cx="11455400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71476" y="1449387"/>
            <a:ext cx="11451936" cy="45064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62249" y="-600255"/>
            <a:ext cx="13699530" cy="7053442"/>
            <a:chOff x="-1162249" y="-600255"/>
            <a:chExt cx="13699530" cy="7053442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256200" y="1435011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256200" y="6202956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256200" y="5948198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 userDrawn="1"/>
          </p:nvSpPr>
          <p:spPr>
            <a:xfrm>
              <a:off x="-747711" y="137090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5.50cm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0 cm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47711" y="570960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7 cm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accent2"/>
                  </a:solidFill>
                </a:rPr>
                <a:t>15.9cm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15.9 cm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371113" y="-265725"/>
              <a:ext cx="0" cy="18000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 userDrawn="1"/>
          </p:nvSpPr>
          <p:spPr>
            <a:xfrm>
              <a:off x="-1143000" y="583271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Content Bottom</a:t>
              </a:r>
            </a:p>
          </p:txBody>
        </p:sp>
        <p:sp>
          <p:nvSpPr>
            <p:cNvPr id="86" name="TextBox 85"/>
            <p:cNvSpPr txBox="1"/>
            <p:nvPr userDrawn="1"/>
          </p:nvSpPr>
          <p:spPr>
            <a:xfrm>
              <a:off x="-1143000" y="149401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Content Top</a:t>
              </a:r>
            </a:p>
          </p:txBody>
        </p:sp>
        <p:sp>
          <p:nvSpPr>
            <p:cNvPr id="88" name="TextBox 87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Left Margin</a:t>
              </a:r>
            </a:p>
          </p:txBody>
        </p:sp>
        <p:sp>
          <p:nvSpPr>
            <p:cNvPr id="89" name="TextBox 88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accent2"/>
                  </a:solidFill>
                </a:rPr>
                <a:t>Right Margin</a:t>
              </a:r>
            </a:p>
          </p:txBody>
        </p:sp>
        <p:cxnSp>
          <p:nvCxnSpPr>
            <p:cNvPr id="98" name="Straight Connector 97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Middle </a:t>
              </a:r>
              <a:br>
                <a:rPr lang="en-GB" sz="800">
                  <a:solidFill>
                    <a:schemeClr val="accent2"/>
                  </a:solidFill>
                </a:rPr>
              </a:br>
              <a:r>
                <a:rPr lang="en-GB" sz="800">
                  <a:solidFill>
                    <a:schemeClr val="accent2"/>
                  </a:solidFill>
                </a:rPr>
                <a:t>0cm 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0.26cm</a:t>
              </a:r>
            </a:p>
          </p:txBody>
        </p:sp>
        <p:cxnSp>
          <p:nvCxnSpPr>
            <p:cNvPr id="104" name="Straight Connector 103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0.26cm</a:t>
              </a:r>
            </a:p>
          </p:txBody>
        </p:sp>
        <p:cxnSp>
          <p:nvCxnSpPr>
            <p:cNvPr id="107" name="Straight Connector 106"/>
            <p:cNvCxnSpPr/>
            <p:nvPr userDrawn="1"/>
          </p:nvCxnSpPr>
          <p:spPr>
            <a:xfrm>
              <a:off x="11823411" y="-265725"/>
              <a:ext cx="0" cy="18000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-256200" y="407734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 userDrawn="1"/>
          </p:nvSpPr>
          <p:spPr>
            <a:xfrm>
              <a:off x="-747711" y="386341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8.4cm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>
            <a:xfrm>
              <a:off x="-1143000" y="509452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Title To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25CEB6-6DDA-49BF-824C-CFA9D8A07E3F}"/>
                </a:ext>
              </a:extLst>
            </p:cNvPr>
            <p:cNvSpPr txBox="1"/>
            <p:nvPr userDrawn="1"/>
          </p:nvSpPr>
          <p:spPr>
            <a:xfrm>
              <a:off x="-766960" y="6206965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7.70 c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1658A23-15A2-4406-AF7E-89707B5575E7}"/>
                </a:ext>
              </a:extLst>
            </p:cNvPr>
            <p:cNvSpPr txBox="1"/>
            <p:nvPr userDrawn="1"/>
          </p:nvSpPr>
          <p:spPr>
            <a:xfrm>
              <a:off x="-1162249" y="6330076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Image Bottom</a:t>
              </a:r>
            </a:p>
          </p:txBody>
        </p:sp>
      </p:grp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14C844D-A5F7-B0AD-7C8B-1F71318F65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1656CA-15D3-5A5B-6F3C-96700B7FC5D1}"/>
              </a:ext>
            </a:extLst>
          </p:cNvPr>
          <p:cNvSpPr/>
          <p:nvPr userDrawn="1"/>
        </p:nvSpPr>
        <p:spPr bwMode="ltGray">
          <a:xfrm>
            <a:off x="1" y="6759575"/>
            <a:ext cx="12191999" cy="98426"/>
          </a:xfrm>
          <a:prstGeom prst="rect">
            <a:avLst/>
          </a:prstGeom>
          <a:gradFill>
            <a:gsLst>
              <a:gs pos="0">
                <a:srgbClr val="00A8B8"/>
              </a:gs>
              <a:gs pos="100000">
                <a:srgbClr val="2EEFEE"/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pt-BR" sz="1600" b="0" err="1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ABFA495-BCC8-6635-35CA-D8ABBA82B230}"/>
              </a:ext>
            </a:extLst>
          </p:cNvPr>
          <p:cNvGrpSpPr/>
          <p:nvPr userDrawn="1"/>
        </p:nvGrpSpPr>
        <p:grpSpPr>
          <a:xfrm>
            <a:off x="7081185" y="-600255"/>
            <a:ext cx="3909599" cy="486636"/>
            <a:chOff x="7385834" y="-516819"/>
            <a:chExt cx="3239278" cy="4032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1CD17F3-E8F5-921D-E644-C029462888C3}"/>
                </a:ext>
              </a:extLst>
            </p:cNvPr>
            <p:cNvSpPr/>
            <p:nvPr userDrawn="1"/>
          </p:nvSpPr>
          <p:spPr bwMode="ltGray">
            <a:xfrm>
              <a:off x="7385834" y="-516819"/>
              <a:ext cx="403200" cy="403200"/>
            </a:xfrm>
            <a:prstGeom prst="rect">
              <a:avLst/>
            </a:prstGeom>
            <a:solidFill>
              <a:srgbClr val="00A8B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13ACF41-75CA-857E-487D-0BAFC5BA7A16}"/>
                </a:ext>
              </a:extLst>
            </p:cNvPr>
            <p:cNvSpPr/>
            <p:nvPr userDrawn="1"/>
          </p:nvSpPr>
          <p:spPr bwMode="ltGray">
            <a:xfrm>
              <a:off x="7792427" y="-516819"/>
              <a:ext cx="403200" cy="403200"/>
            </a:xfrm>
            <a:prstGeom prst="rect">
              <a:avLst/>
            </a:prstGeom>
            <a:solidFill>
              <a:srgbClr val="004A5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8412259-69D9-1980-5017-42770AA652AD}"/>
                </a:ext>
              </a:extLst>
            </p:cNvPr>
            <p:cNvSpPr/>
            <p:nvPr userDrawn="1"/>
          </p:nvSpPr>
          <p:spPr bwMode="ltGray">
            <a:xfrm>
              <a:off x="8198635" y="-516819"/>
              <a:ext cx="403200" cy="403200"/>
            </a:xfrm>
            <a:prstGeom prst="rect">
              <a:avLst/>
            </a:prstGeom>
            <a:solidFill>
              <a:srgbClr val="FFD61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3AB4767-06A0-40B0-A88A-38CD1B95C499}"/>
                </a:ext>
              </a:extLst>
            </p:cNvPr>
            <p:cNvSpPr/>
            <p:nvPr userDrawn="1"/>
          </p:nvSpPr>
          <p:spPr bwMode="ltGray">
            <a:xfrm>
              <a:off x="8605387" y="-516819"/>
              <a:ext cx="403200" cy="403200"/>
            </a:xfrm>
            <a:prstGeom prst="rect">
              <a:avLst/>
            </a:prstGeom>
            <a:solidFill>
              <a:srgbClr val="2EEFEE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AC594-550E-3839-C4F1-75DE455D7605}"/>
                </a:ext>
              </a:extLst>
            </p:cNvPr>
            <p:cNvSpPr/>
            <p:nvPr userDrawn="1"/>
          </p:nvSpPr>
          <p:spPr bwMode="ltGray">
            <a:xfrm>
              <a:off x="9007883" y="-516819"/>
              <a:ext cx="403200" cy="403200"/>
            </a:xfrm>
            <a:prstGeom prst="rect">
              <a:avLst/>
            </a:prstGeom>
            <a:solidFill>
              <a:srgbClr val="0AF0B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D5DC5D5-7532-CB48-3836-53EF3BC39BC0}"/>
                </a:ext>
              </a:extLst>
            </p:cNvPr>
            <p:cNvSpPr/>
            <p:nvPr userDrawn="1"/>
          </p:nvSpPr>
          <p:spPr bwMode="ltGray">
            <a:xfrm>
              <a:off x="9408387" y="-516819"/>
              <a:ext cx="403200" cy="403200"/>
            </a:xfrm>
            <a:prstGeom prst="rect">
              <a:avLst/>
            </a:prstGeom>
            <a:solidFill>
              <a:srgbClr val="F871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E877D7F-AE9C-DF89-EDFE-5AAFF75C12F8}"/>
                </a:ext>
              </a:extLst>
            </p:cNvPr>
            <p:cNvSpPr/>
            <p:nvPr userDrawn="1"/>
          </p:nvSpPr>
          <p:spPr bwMode="ltGray">
            <a:xfrm>
              <a:off x="9818373" y="-516819"/>
              <a:ext cx="403200" cy="403200"/>
            </a:xfrm>
            <a:prstGeom prst="rect">
              <a:avLst/>
            </a:prstGeom>
            <a:solidFill>
              <a:srgbClr val="0179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4EEF38B-4BA8-FAFF-0835-14FFD23E584C}"/>
                </a:ext>
              </a:extLst>
            </p:cNvPr>
            <p:cNvSpPr/>
            <p:nvPr userDrawn="1"/>
          </p:nvSpPr>
          <p:spPr bwMode="ltGray">
            <a:xfrm>
              <a:off x="10221912" y="-516819"/>
              <a:ext cx="403200" cy="403200"/>
            </a:xfrm>
            <a:prstGeom prst="rect">
              <a:avLst/>
            </a:prstGeom>
            <a:solidFill>
              <a:srgbClr val="FF8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</p:grp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F5A9E870-4B5A-7925-EF8E-35FA096F0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05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4C24965-EDA6-E7B7-2F86-7A24B811F251}"/>
              </a:ext>
            </a:extLst>
          </p:cNvPr>
          <p:cNvPicPr>
            <a:picLocks noChangeAspect="1"/>
          </p:cNvPicPr>
          <p:nvPr userDrawn="1">
            <p:custDataLst>
              <p:tags r:id="rId50"/>
            </p:custDataLst>
          </p:nvPr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 t="33184" b="33184"/>
          <a:stretch/>
        </p:blipFill>
        <p:spPr>
          <a:xfrm>
            <a:off x="269875" y="6311809"/>
            <a:ext cx="1460500" cy="36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66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0" r:id="rId2"/>
    <p:sldLayoutId id="2147483882" r:id="rId3"/>
    <p:sldLayoutId id="2147483894" r:id="rId4"/>
    <p:sldLayoutId id="2147483697" r:id="rId5"/>
    <p:sldLayoutId id="2147483696" r:id="rId6"/>
    <p:sldLayoutId id="2147483899" r:id="rId7"/>
    <p:sldLayoutId id="2147483877" r:id="rId8"/>
    <p:sldLayoutId id="2147483878" r:id="rId9"/>
    <p:sldLayoutId id="2147483879" r:id="rId10"/>
    <p:sldLayoutId id="2147483844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827" r:id="rId26"/>
    <p:sldLayoutId id="2147483829" r:id="rId27"/>
    <p:sldLayoutId id="2147483845" r:id="rId28"/>
    <p:sldLayoutId id="2147483830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775" r:id="rId35"/>
    <p:sldLayoutId id="2147483897" r:id="rId36"/>
    <p:sldLayoutId id="2147483887" r:id="rId37"/>
    <p:sldLayoutId id="2147483889" r:id="rId38"/>
    <p:sldLayoutId id="2147483890" r:id="rId39"/>
    <p:sldLayoutId id="2147483891" r:id="rId40"/>
    <p:sldLayoutId id="2147483892" r:id="rId41"/>
    <p:sldLayoutId id="2147483893" r:id="rId42"/>
    <p:sldLayoutId id="2147483883" r:id="rId43"/>
    <p:sldLayoutId id="2147483886" r:id="rId44"/>
    <p:sldLayoutId id="2147483898" r:id="rId45"/>
    <p:sldLayoutId id="2147483895" r:id="rId46"/>
    <p:sldLayoutId id="2147483896" r:id="rId47"/>
    <p:sldLayoutId id="2147483910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4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4988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588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982663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14" pos="7446" userDrawn="1">
          <p15:clr>
            <a:srgbClr val="F26B43"/>
          </p15:clr>
        </p15:guide>
        <p15:guide id="28" orient="horz" pos="913" userDrawn="1">
          <p15:clr>
            <a:srgbClr val="F26B43"/>
          </p15:clr>
        </p15:guide>
        <p15:guide id="29" orient="horz" pos="255" userDrawn="1">
          <p15:clr>
            <a:srgbClr val="F26B43"/>
          </p15:clr>
        </p15:guide>
        <p15:guide id="33" orient="horz" pos="3748" userDrawn="1">
          <p15:clr>
            <a:srgbClr val="F26B43"/>
          </p15:clr>
        </p15:guide>
        <p15:guide id="35" pos="234" userDrawn="1">
          <p15:clr>
            <a:srgbClr val="F26B43"/>
          </p15:clr>
        </p15:guide>
        <p15:guide id="36" pos="3840" userDrawn="1">
          <p15:clr>
            <a:srgbClr val="F26B43"/>
          </p15:clr>
        </p15:guide>
        <p15:guide id="37" pos="3782" userDrawn="1">
          <p15:clr>
            <a:srgbClr val="F26B43"/>
          </p15:clr>
        </p15:guide>
        <p15:guide id="38" pos="3900" userDrawn="1">
          <p15:clr>
            <a:srgbClr val="F26B43"/>
          </p15:clr>
        </p15:guide>
        <p15:guide id="39" orient="horz" pos="390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0" i="0">
                <a:solidFill>
                  <a:schemeClr val="tx1"/>
                </a:solidFill>
                <a:latin typeface="Kantar Brown Light" panose="020B0404020101010102" pitchFamily="34" charset="77"/>
                <a:cs typeface="Kantar Brown Light" panose="020B0404020101010102" pitchFamily="34" charset="77"/>
              </a:defRPr>
            </a:lvl1pPr>
          </a:lstStyle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43000" y="-600255"/>
            <a:ext cx="13680281" cy="6913023"/>
            <a:chOff x="-1143000" y="-600255"/>
            <a:chExt cx="13680281" cy="6913023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256200" y="614382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4.78cm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0 cm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6.35 cm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15.93cm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15.93 cm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Bottom</a:t>
              </a:r>
            </a:p>
          </p:txBody>
        </p:sp>
        <p:sp>
          <p:nvSpPr>
            <p:cNvPr id="86" name="TextBox 85"/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Top</a:t>
              </a:r>
            </a:p>
          </p:txBody>
        </p:sp>
        <p:sp>
          <p:nvSpPr>
            <p:cNvPr id="88" name="TextBox 87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Left Margin</a:t>
              </a:r>
            </a:p>
          </p:txBody>
        </p:sp>
        <p:sp>
          <p:nvSpPr>
            <p:cNvPr id="89" name="TextBox 88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Right Margin</a:t>
              </a:r>
            </a:p>
          </p:txBody>
        </p:sp>
        <p:cxnSp>
          <p:nvCxnSpPr>
            <p:cNvPr id="98" name="Straight Connector 97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Middle 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800">
                  <a:solidFill>
                    <a:schemeClr val="tx1"/>
                  </a:solidFill>
                </a:rPr>
                <a:t>0cm 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4" name="Straight Connector 103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7" name="Straight Connector 106"/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8.33cm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Title To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25CEB6-6DDA-49BF-824C-CFA9D8A07E3F}"/>
                </a:ext>
              </a:extLst>
            </p:cNvPr>
            <p:cNvSpPr txBox="1"/>
            <p:nvPr userDrawn="1"/>
          </p:nvSpPr>
          <p:spPr>
            <a:xfrm>
              <a:off x="-747711" y="606654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7.54 c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1658A23-15A2-4406-AF7E-89707B5575E7}"/>
                </a:ext>
              </a:extLst>
            </p:cNvPr>
            <p:cNvSpPr txBox="1"/>
            <p:nvPr userDrawn="1"/>
          </p:nvSpPr>
          <p:spPr>
            <a:xfrm>
              <a:off x="-1143000" y="618965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Image Bottom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FB14CB-EE2E-16DD-412E-BEB3DA5CACB7}"/>
              </a:ext>
            </a:extLst>
          </p:cNvPr>
          <p:cNvCxnSpPr>
            <a:cxnSpLocks/>
          </p:cNvCxnSpPr>
          <p:nvPr userDrawn="1">
            <p:custDataLst>
              <p:tags r:id="rId29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rgbClr val="33333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A87B91B8-8B4F-A74E-8C35-B2182389BE63}"/>
              </a:ext>
            </a:extLst>
          </p:cNvPr>
          <p:cNvPicPr>
            <a:picLocks noChangeAspect="1"/>
          </p:cNvPicPr>
          <p:nvPr userDrawn="1">
            <p:custDataLst>
              <p:tags r:id="rId30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BF54D5-4C6B-F065-5EB6-2518306CAB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1">
                    <a:tint val="75000"/>
                  </a:schemeClr>
                </a:solidFill>
                <a:latin typeface="Kantar Brown Light" panose="020B0404020101010102" pitchFamily="34" charset="77"/>
                <a:cs typeface="Kantar Brown Light" panose="020B0404020101010102" pitchFamily="34" charset="77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581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  <p:sldLayoutId id="2147484022" r:id="rId14"/>
    <p:sldLayoutId id="2147484023" r:id="rId15"/>
    <p:sldLayoutId id="2147484024" r:id="rId16"/>
    <p:sldLayoutId id="2147484025" r:id="rId17"/>
    <p:sldLayoutId id="2147484026" r:id="rId18"/>
    <p:sldLayoutId id="2147484027" r:id="rId19"/>
    <p:sldLayoutId id="2147484028" r:id="rId20"/>
    <p:sldLayoutId id="2147484029" r:id="rId21"/>
    <p:sldLayoutId id="2147484030" r:id="rId22"/>
    <p:sldLayoutId id="2147484032" r:id="rId23"/>
    <p:sldLayoutId id="2147484033" r:id="rId24"/>
    <p:sldLayoutId id="2147484034" r:id="rId25"/>
    <p:sldLayoutId id="2147484035" r:id="rId26"/>
    <p:sldLayoutId id="2147484036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400" b="1" i="0" kern="1200">
          <a:solidFill>
            <a:schemeClr val="tx1"/>
          </a:solidFill>
          <a:latin typeface="Kantar Brown" panose="020B0504020101010102" pitchFamily="34" charset="77"/>
          <a:ea typeface="+mj-ea"/>
          <a:cs typeface="Kantar Brown" panose="020B0504020101010102" pitchFamily="34" charset="77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Kantar Brown Light" panose="020B0404020101010102" pitchFamily="34" charset="77"/>
          <a:ea typeface="+mn-ea"/>
          <a:cs typeface="Kantar Brown Light" panose="020B0404020101010102" pitchFamily="34" charset="77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b="0" i="0" kern="1200">
          <a:solidFill>
            <a:schemeClr val="tx1"/>
          </a:solidFill>
          <a:latin typeface="Kantar Brown Light" panose="020B0404020101010102" pitchFamily="34" charset="77"/>
          <a:ea typeface="+mn-ea"/>
          <a:cs typeface="Kantar Brown Light" panose="020B0404020101010102" pitchFamily="34" charset="77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b="0" i="0" kern="1200">
          <a:solidFill>
            <a:schemeClr val="tx1"/>
          </a:solidFill>
          <a:latin typeface="Kantar Brown Light" panose="020B0404020101010102" pitchFamily="34" charset="77"/>
          <a:ea typeface="+mn-ea"/>
          <a:cs typeface="Kantar Brown Light" panose="020B0404020101010102" pitchFamily="34" charset="77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b="0" i="0" kern="1200">
          <a:solidFill>
            <a:schemeClr val="tx1"/>
          </a:solidFill>
          <a:latin typeface="Kantar Brown Light" panose="020B0404020101010102" pitchFamily="34" charset="77"/>
          <a:ea typeface="+mn-ea"/>
          <a:cs typeface="Kantar Brown Light" panose="020B0404020101010102" pitchFamily="34" charset="77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b="0" i="0" kern="1200">
          <a:solidFill>
            <a:schemeClr val="tx1"/>
          </a:solidFill>
          <a:latin typeface="Kantar Brown Light" panose="020B0404020101010102" pitchFamily="34" charset="77"/>
          <a:ea typeface="+mn-ea"/>
          <a:cs typeface="Kantar Brown Light" panose="020B0404020101010102" pitchFamily="34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3840">
          <p15:clr>
            <a:srgbClr val="F26B43"/>
          </p15:clr>
        </p15:guide>
        <p15:guide id="37" pos="3782">
          <p15:clr>
            <a:srgbClr val="F26B43"/>
          </p15:clr>
        </p15:guide>
        <p15:guide id="38" pos="3900">
          <p15:clr>
            <a:srgbClr val="F26B43"/>
          </p15:clr>
        </p15:guide>
        <p15:guide id="39" orient="horz" pos="38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43000" y="-600255"/>
            <a:ext cx="13680281" cy="6916397"/>
            <a:chOff x="-1143000" y="-600255"/>
            <a:chExt cx="13680281" cy="6916397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256200" y="61454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4.78cm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0 cm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6.35 cm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15.93cm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15.93 cm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Bottom</a:t>
              </a:r>
            </a:p>
          </p:txBody>
        </p:sp>
        <p:sp>
          <p:nvSpPr>
            <p:cNvPr id="86" name="TextBox 85"/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Top</a:t>
              </a:r>
            </a:p>
          </p:txBody>
        </p:sp>
        <p:sp>
          <p:nvSpPr>
            <p:cNvPr id="88" name="TextBox 87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Left Margin</a:t>
              </a:r>
            </a:p>
          </p:txBody>
        </p:sp>
        <p:sp>
          <p:nvSpPr>
            <p:cNvPr id="89" name="TextBox 88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Right Margin</a:t>
              </a:r>
            </a:p>
          </p:txBody>
        </p:sp>
        <p:cxnSp>
          <p:nvCxnSpPr>
            <p:cNvPr id="98" name="Straight Connector 97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Middle 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800">
                  <a:solidFill>
                    <a:schemeClr val="tx1"/>
                  </a:solidFill>
                </a:rPr>
                <a:t>0cm 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4" name="Straight Connector 103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7" name="Straight Connector 106"/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8.33cm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Title To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FEAE3B3-5D06-4E3B-A398-C6BC23EA7359}"/>
                </a:ext>
              </a:extLst>
            </p:cNvPr>
            <p:cNvSpPr txBox="1"/>
            <p:nvPr userDrawn="1"/>
          </p:nvSpPr>
          <p:spPr>
            <a:xfrm>
              <a:off x="-747711" y="606992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7.54 c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962E1CA-16B1-4204-B4FF-F9B26DDEE92A}"/>
                </a:ext>
              </a:extLst>
            </p:cNvPr>
            <p:cNvSpPr txBox="1"/>
            <p:nvPr userDrawn="1"/>
          </p:nvSpPr>
          <p:spPr>
            <a:xfrm>
              <a:off x="-1143000" y="619303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Image Bottom</a:t>
              </a: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Confidential Internal Onl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16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>
            <a:extLst>
              <a:ext uri="{FF2B5EF4-FFF2-40B4-BE49-F238E27FC236}">
                <a16:creationId xmlns:a16="http://schemas.microsoft.com/office/drawing/2014/main" id="{7B7CA491-29AF-4154-90A3-E0D2BFCEB75D}"/>
              </a:ext>
            </a:extLst>
          </p:cNvPr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17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3840">
          <p15:clr>
            <a:srgbClr val="F26B43"/>
          </p15:clr>
        </p15:guide>
        <p15:guide id="37" pos="3782">
          <p15:clr>
            <a:srgbClr val="F26B43"/>
          </p15:clr>
        </p15:guide>
        <p15:guide id="38" pos="3900">
          <p15:clr>
            <a:srgbClr val="F26B43"/>
          </p15:clr>
        </p15:guide>
        <p15:guide id="39" orient="horz" pos="387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71475" y="407734"/>
            <a:ext cx="11455400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71476" y="1449387"/>
            <a:ext cx="11451936" cy="45064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62249" y="-600255"/>
            <a:ext cx="13699530" cy="7053442"/>
            <a:chOff x="-1162249" y="-600255"/>
            <a:chExt cx="13699530" cy="7053442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256200" y="1435011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256200" y="6202956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256200" y="5948198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 userDrawn="1"/>
          </p:nvSpPr>
          <p:spPr>
            <a:xfrm>
              <a:off x="-747711" y="137090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5.50cm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0 cm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47711" y="570960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7 cm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accent2"/>
                  </a:solidFill>
                </a:rPr>
                <a:t>15.9cm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15.9 cm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371113" y="-265725"/>
              <a:ext cx="0" cy="18000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 userDrawn="1"/>
          </p:nvSpPr>
          <p:spPr>
            <a:xfrm>
              <a:off x="-1143000" y="583271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Content Bottom</a:t>
              </a:r>
            </a:p>
          </p:txBody>
        </p:sp>
        <p:sp>
          <p:nvSpPr>
            <p:cNvPr id="86" name="TextBox 85"/>
            <p:cNvSpPr txBox="1"/>
            <p:nvPr userDrawn="1"/>
          </p:nvSpPr>
          <p:spPr>
            <a:xfrm>
              <a:off x="-1143000" y="149401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Content Top</a:t>
              </a:r>
            </a:p>
          </p:txBody>
        </p:sp>
        <p:sp>
          <p:nvSpPr>
            <p:cNvPr id="88" name="TextBox 87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Left Margin</a:t>
              </a:r>
            </a:p>
          </p:txBody>
        </p:sp>
        <p:sp>
          <p:nvSpPr>
            <p:cNvPr id="89" name="TextBox 88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accent2"/>
                  </a:solidFill>
                </a:rPr>
                <a:t>Right Margin</a:t>
              </a:r>
            </a:p>
          </p:txBody>
        </p:sp>
        <p:cxnSp>
          <p:nvCxnSpPr>
            <p:cNvPr id="98" name="Straight Connector 97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Middle </a:t>
              </a:r>
              <a:br>
                <a:rPr lang="en-GB" sz="800">
                  <a:solidFill>
                    <a:schemeClr val="accent2"/>
                  </a:solidFill>
                </a:rPr>
              </a:br>
              <a:r>
                <a:rPr lang="en-GB" sz="800">
                  <a:solidFill>
                    <a:schemeClr val="accent2"/>
                  </a:solidFill>
                </a:rPr>
                <a:t>0cm 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0.26cm</a:t>
              </a:r>
            </a:p>
          </p:txBody>
        </p:sp>
        <p:cxnSp>
          <p:nvCxnSpPr>
            <p:cNvPr id="104" name="Straight Connector 103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accent2"/>
                  </a:solidFill>
                </a:rPr>
                <a:t>0.26cm</a:t>
              </a:r>
            </a:p>
          </p:txBody>
        </p:sp>
        <p:cxnSp>
          <p:nvCxnSpPr>
            <p:cNvPr id="107" name="Straight Connector 106"/>
            <p:cNvCxnSpPr/>
            <p:nvPr userDrawn="1"/>
          </p:nvCxnSpPr>
          <p:spPr>
            <a:xfrm>
              <a:off x="11823411" y="-265725"/>
              <a:ext cx="0" cy="18000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-256200" y="407734"/>
              <a:ext cx="180000" cy="0"/>
            </a:xfrm>
            <a:prstGeom prst="line">
              <a:avLst/>
            </a:prstGeom>
            <a:ln w="6350">
              <a:solidFill>
                <a:srgbClr val="85FB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 userDrawn="1"/>
          </p:nvSpPr>
          <p:spPr>
            <a:xfrm>
              <a:off x="-747711" y="386341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8.4cm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>
            <a:xfrm>
              <a:off x="-1143000" y="509452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Title To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25CEB6-6DDA-49BF-824C-CFA9D8A07E3F}"/>
                </a:ext>
              </a:extLst>
            </p:cNvPr>
            <p:cNvSpPr txBox="1"/>
            <p:nvPr userDrawn="1"/>
          </p:nvSpPr>
          <p:spPr>
            <a:xfrm>
              <a:off x="-766960" y="6206965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7.70 c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1658A23-15A2-4406-AF7E-89707B5575E7}"/>
                </a:ext>
              </a:extLst>
            </p:cNvPr>
            <p:cNvSpPr txBox="1"/>
            <p:nvPr userDrawn="1"/>
          </p:nvSpPr>
          <p:spPr>
            <a:xfrm>
              <a:off x="-1162249" y="6330076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accent2"/>
                  </a:solidFill>
                </a:rPr>
                <a:t>Image Bottom</a:t>
              </a:r>
            </a:p>
          </p:txBody>
        </p:sp>
      </p:grp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14C844D-A5F7-B0AD-7C8B-1F71318F65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4834" y="6390000"/>
            <a:ext cx="7020421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/>
              <a:t>Footer goes here – font size 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1656CA-15D3-5A5B-6F3C-96700B7FC5D1}"/>
              </a:ext>
            </a:extLst>
          </p:cNvPr>
          <p:cNvSpPr/>
          <p:nvPr userDrawn="1"/>
        </p:nvSpPr>
        <p:spPr bwMode="ltGray">
          <a:xfrm>
            <a:off x="1" y="6759575"/>
            <a:ext cx="12191999" cy="98426"/>
          </a:xfrm>
          <a:prstGeom prst="rect">
            <a:avLst/>
          </a:prstGeom>
          <a:gradFill>
            <a:gsLst>
              <a:gs pos="0">
                <a:srgbClr val="00A8B8"/>
              </a:gs>
              <a:gs pos="100000">
                <a:srgbClr val="2EEFEE"/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pt-BR" sz="1600" b="0" err="1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ABFA495-BCC8-6635-35CA-D8ABBA82B230}"/>
              </a:ext>
            </a:extLst>
          </p:cNvPr>
          <p:cNvGrpSpPr/>
          <p:nvPr userDrawn="1"/>
        </p:nvGrpSpPr>
        <p:grpSpPr>
          <a:xfrm>
            <a:off x="7081185" y="-600255"/>
            <a:ext cx="3909599" cy="486636"/>
            <a:chOff x="7385834" y="-516819"/>
            <a:chExt cx="3239278" cy="4032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1CD17F3-E8F5-921D-E644-C029462888C3}"/>
                </a:ext>
              </a:extLst>
            </p:cNvPr>
            <p:cNvSpPr/>
            <p:nvPr userDrawn="1"/>
          </p:nvSpPr>
          <p:spPr bwMode="ltGray">
            <a:xfrm>
              <a:off x="7385834" y="-516819"/>
              <a:ext cx="403200" cy="403200"/>
            </a:xfrm>
            <a:prstGeom prst="rect">
              <a:avLst/>
            </a:prstGeom>
            <a:solidFill>
              <a:srgbClr val="00A8B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13ACF41-75CA-857E-487D-0BAFC5BA7A16}"/>
                </a:ext>
              </a:extLst>
            </p:cNvPr>
            <p:cNvSpPr/>
            <p:nvPr userDrawn="1"/>
          </p:nvSpPr>
          <p:spPr bwMode="ltGray">
            <a:xfrm>
              <a:off x="7792427" y="-516819"/>
              <a:ext cx="403200" cy="403200"/>
            </a:xfrm>
            <a:prstGeom prst="rect">
              <a:avLst/>
            </a:prstGeom>
            <a:solidFill>
              <a:srgbClr val="004A5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8412259-69D9-1980-5017-42770AA652AD}"/>
                </a:ext>
              </a:extLst>
            </p:cNvPr>
            <p:cNvSpPr/>
            <p:nvPr userDrawn="1"/>
          </p:nvSpPr>
          <p:spPr bwMode="ltGray">
            <a:xfrm>
              <a:off x="8198635" y="-516819"/>
              <a:ext cx="403200" cy="403200"/>
            </a:xfrm>
            <a:prstGeom prst="rect">
              <a:avLst/>
            </a:prstGeom>
            <a:solidFill>
              <a:srgbClr val="FFD61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3AB4767-06A0-40B0-A88A-38CD1B95C499}"/>
                </a:ext>
              </a:extLst>
            </p:cNvPr>
            <p:cNvSpPr/>
            <p:nvPr userDrawn="1"/>
          </p:nvSpPr>
          <p:spPr bwMode="ltGray">
            <a:xfrm>
              <a:off x="8605387" y="-516819"/>
              <a:ext cx="403200" cy="403200"/>
            </a:xfrm>
            <a:prstGeom prst="rect">
              <a:avLst/>
            </a:prstGeom>
            <a:solidFill>
              <a:srgbClr val="2EEFEE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AC594-550E-3839-C4F1-75DE455D7605}"/>
                </a:ext>
              </a:extLst>
            </p:cNvPr>
            <p:cNvSpPr/>
            <p:nvPr userDrawn="1"/>
          </p:nvSpPr>
          <p:spPr bwMode="ltGray">
            <a:xfrm>
              <a:off x="9007883" y="-516819"/>
              <a:ext cx="403200" cy="403200"/>
            </a:xfrm>
            <a:prstGeom prst="rect">
              <a:avLst/>
            </a:prstGeom>
            <a:solidFill>
              <a:srgbClr val="0AF0B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D5DC5D5-7532-CB48-3836-53EF3BC39BC0}"/>
                </a:ext>
              </a:extLst>
            </p:cNvPr>
            <p:cNvSpPr/>
            <p:nvPr userDrawn="1"/>
          </p:nvSpPr>
          <p:spPr bwMode="ltGray">
            <a:xfrm>
              <a:off x="9408387" y="-516819"/>
              <a:ext cx="403200" cy="403200"/>
            </a:xfrm>
            <a:prstGeom prst="rect">
              <a:avLst/>
            </a:prstGeom>
            <a:solidFill>
              <a:srgbClr val="F871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E877D7F-AE9C-DF89-EDFE-5AAFF75C12F8}"/>
                </a:ext>
              </a:extLst>
            </p:cNvPr>
            <p:cNvSpPr/>
            <p:nvPr userDrawn="1"/>
          </p:nvSpPr>
          <p:spPr bwMode="ltGray">
            <a:xfrm>
              <a:off x="9818373" y="-516819"/>
              <a:ext cx="403200" cy="403200"/>
            </a:xfrm>
            <a:prstGeom prst="rect">
              <a:avLst/>
            </a:prstGeom>
            <a:solidFill>
              <a:srgbClr val="0179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4EEF38B-4BA8-FAFF-0835-14FFD23E584C}"/>
                </a:ext>
              </a:extLst>
            </p:cNvPr>
            <p:cNvSpPr/>
            <p:nvPr userDrawn="1"/>
          </p:nvSpPr>
          <p:spPr bwMode="ltGray">
            <a:xfrm>
              <a:off x="10221912" y="-516819"/>
              <a:ext cx="403200" cy="403200"/>
            </a:xfrm>
            <a:prstGeom prst="rect">
              <a:avLst/>
            </a:prstGeom>
            <a:solidFill>
              <a:srgbClr val="FF8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pt-BR" sz="1600" b="0" err="1"/>
            </a:p>
          </p:txBody>
        </p:sp>
      </p:grp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F5A9E870-4B5A-7925-EF8E-35FA096F0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3513" y="6390000"/>
            <a:ext cx="26033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GB" sz="1050"/>
              <a:t>Report/Presentation Name 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315B98-4A3C-3844-D2C2-858DA3AAA7B0}"/>
              </a:ext>
            </a:extLst>
          </p:cNvPr>
          <p:cNvPicPr>
            <a:picLocks noChangeAspect="1"/>
          </p:cNvPicPr>
          <p:nvPr userDrawn="1">
            <p:custDataLst>
              <p:tags r:id="rId57"/>
            </p:custDataLst>
          </p:nvPr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rcRect t="33184" b="33184"/>
          <a:stretch/>
        </p:blipFill>
        <p:spPr>
          <a:xfrm>
            <a:off x="269875" y="6311809"/>
            <a:ext cx="1460500" cy="36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  <p:sldLayoutId id="2147484086" r:id="rId20"/>
    <p:sldLayoutId id="2147484087" r:id="rId21"/>
    <p:sldLayoutId id="2147484088" r:id="rId22"/>
    <p:sldLayoutId id="2147484089" r:id="rId23"/>
    <p:sldLayoutId id="2147484090" r:id="rId24"/>
    <p:sldLayoutId id="2147484091" r:id="rId25"/>
    <p:sldLayoutId id="2147484092" r:id="rId26"/>
    <p:sldLayoutId id="2147484093" r:id="rId27"/>
    <p:sldLayoutId id="2147484094" r:id="rId28"/>
    <p:sldLayoutId id="2147484095" r:id="rId29"/>
    <p:sldLayoutId id="2147484096" r:id="rId30"/>
    <p:sldLayoutId id="2147484097" r:id="rId31"/>
    <p:sldLayoutId id="2147484098" r:id="rId32"/>
    <p:sldLayoutId id="2147484099" r:id="rId33"/>
    <p:sldLayoutId id="2147484100" r:id="rId34"/>
    <p:sldLayoutId id="2147484101" r:id="rId35"/>
    <p:sldLayoutId id="2147484102" r:id="rId36"/>
    <p:sldLayoutId id="2147484103" r:id="rId37"/>
    <p:sldLayoutId id="2147484104" r:id="rId38"/>
    <p:sldLayoutId id="2147484105" r:id="rId39"/>
    <p:sldLayoutId id="2147484106" r:id="rId40"/>
    <p:sldLayoutId id="2147484107" r:id="rId41"/>
    <p:sldLayoutId id="2147484108" r:id="rId42"/>
    <p:sldLayoutId id="2147484109" r:id="rId43"/>
    <p:sldLayoutId id="2147484110" r:id="rId44"/>
    <p:sldLayoutId id="2147484111" r:id="rId45"/>
    <p:sldLayoutId id="2147484112" r:id="rId46"/>
    <p:sldLayoutId id="2147484113" r:id="rId47"/>
    <p:sldLayoutId id="2147484114" r:id="rId48"/>
    <p:sldLayoutId id="2147484116" r:id="rId49"/>
    <p:sldLayoutId id="2147484117" r:id="rId50"/>
    <p:sldLayoutId id="2147484118" r:id="rId51"/>
    <p:sldLayoutId id="2147484119" r:id="rId52"/>
    <p:sldLayoutId id="2147484120" r:id="rId53"/>
    <p:sldLayoutId id="2147484121" r:id="rId54"/>
    <p:sldLayoutId id="2147484122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4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4988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588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982663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46">
          <p15:clr>
            <a:srgbClr val="F26B43"/>
          </p15:clr>
        </p15:guide>
        <p15:guide id="28" orient="horz" pos="913">
          <p15:clr>
            <a:srgbClr val="F26B43"/>
          </p15:clr>
        </p15:guide>
        <p15:guide id="29" orient="horz" pos="255">
          <p15:clr>
            <a:srgbClr val="F26B43"/>
          </p15:clr>
        </p15:guide>
        <p15:guide id="33" orient="horz" pos="3748">
          <p15:clr>
            <a:srgbClr val="F26B43"/>
          </p15:clr>
        </p15:guide>
        <p15:guide id="35" pos="234">
          <p15:clr>
            <a:srgbClr val="F26B43"/>
          </p15:clr>
        </p15:guide>
        <p15:guide id="36" pos="3840">
          <p15:clr>
            <a:srgbClr val="F26B43"/>
          </p15:clr>
        </p15:guide>
        <p15:guide id="37" pos="3782">
          <p15:clr>
            <a:srgbClr val="F26B43"/>
          </p15:clr>
        </p15:guide>
        <p15:guide id="38" pos="3900">
          <p15:clr>
            <a:srgbClr val="F26B43"/>
          </p15:clr>
        </p15:guide>
        <p15:guide id="39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7">
            <a:extLst>
              <a:ext uri="{FF2B5EF4-FFF2-40B4-BE49-F238E27FC236}">
                <a16:creationId xmlns:a16="http://schemas.microsoft.com/office/drawing/2014/main" id="{150B6E14-8419-04EB-BAFD-7835340189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9538"/>
            <a:ext cx="12192000" cy="68389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B9386EA-689E-22B2-2BE8-947F91FDE3C6}"/>
              </a:ext>
            </a:extLst>
          </p:cNvPr>
          <p:cNvSpPr/>
          <p:nvPr/>
        </p:nvSpPr>
        <p:spPr bwMode="ltGray">
          <a:xfrm>
            <a:off x="-19729" y="9538"/>
            <a:ext cx="12191999" cy="6858000"/>
          </a:xfrm>
          <a:prstGeom prst="rect">
            <a:avLst/>
          </a:prstGeom>
          <a:gradFill flip="none" rotWithShape="1">
            <a:gsLst>
              <a:gs pos="4000">
                <a:srgbClr val="001C20">
                  <a:alpha val="94974"/>
                </a:srgbClr>
              </a:gs>
              <a:gs pos="75000">
                <a:schemeClr val="bg2">
                  <a:alpha val="0"/>
                </a:schemeClr>
              </a:gs>
            </a:gsLst>
            <a:lin ang="12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s-MX" sz="1600" b="0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6FFA67-E1CB-B19F-AEB6-1C2A8902AC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54" y="1576447"/>
            <a:ext cx="4906054" cy="612837"/>
          </a:xfrm>
        </p:spPr>
        <p:txBody>
          <a:bodyPr/>
          <a:lstStyle/>
          <a:p>
            <a:r>
              <a:rPr lang="es-MX" sz="3600" noProof="0" dirty="0">
                <a:solidFill>
                  <a:schemeClr val="bg1"/>
                </a:solidFill>
              </a:rPr>
              <a:t>Análisis de Cobertura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2067E55-896D-1F41-2D43-E0E51055B1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32199" b="32199"/>
          <a:stretch/>
        </p:blipFill>
        <p:spPr>
          <a:xfrm>
            <a:off x="198783" y="479498"/>
            <a:ext cx="2669441" cy="7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46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932F71C6-5C1D-473C-22A0-261A016551AD}"/>
              </a:ext>
            </a:extLst>
          </p:cNvPr>
          <p:cNvSpPr txBox="1">
            <a:spLocks/>
          </p:cNvSpPr>
          <p:nvPr/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400" b="1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noProof="0" dirty="0"/>
              <a:t>Objetivo del Análisis de Cobertura: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D278076-07E4-215D-C24D-C6B794BC6A0A}"/>
              </a:ext>
            </a:extLst>
          </p:cNvPr>
          <p:cNvSpPr txBox="1"/>
          <p:nvPr/>
        </p:nvSpPr>
        <p:spPr>
          <a:xfrm>
            <a:off x="1988126" y="1037471"/>
            <a:ext cx="873487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l nivel de cobertura </a:t>
            </a: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</a:t>
            </a: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es un indicador del rendimiento del panel.</a:t>
            </a:r>
            <a:b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br>
              <a:rPr lang="es-MX" sz="1800" noProof="0" dirty="0">
                <a:solidFill>
                  <a:schemeClr val="tx1"/>
                </a:solidFill>
              </a:rPr>
            </a:br>
            <a:br>
              <a:rPr lang="es-MX" sz="1800" noProof="0" dirty="0">
                <a:solidFill>
                  <a:schemeClr val="tx1"/>
                </a:solidFill>
              </a:rPr>
            </a:b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s, ante todo, un indicador del tipo de consumo y comportamiento de una </a:t>
            </a:r>
            <a:r>
              <a:rPr lang="es-MX" b="1" noProof="0" dirty="0">
                <a:solidFill>
                  <a:srgbClr val="3B4145"/>
                </a:solidFill>
                <a:latin typeface="+mj-lt"/>
              </a:rPr>
              <a:t>categoría dentro del hogar.</a:t>
            </a:r>
            <a:br>
              <a:rPr lang="es-MX" sz="1600" b="1" noProof="0" dirty="0">
                <a:latin typeface="+mj-lt"/>
              </a:rPr>
            </a:br>
            <a:endParaRPr lang="es-MX" noProof="0" dirty="0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3728C66-BBF9-3047-6C39-30A0A442C370}"/>
              </a:ext>
            </a:extLst>
          </p:cNvPr>
          <p:cNvSpPr txBox="1">
            <a:spLocks/>
          </p:cNvSpPr>
          <p:nvPr/>
        </p:nvSpPr>
        <p:spPr>
          <a:xfrm>
            <a:off x="360874" y="2430760"/>
            <a:ext cx="11466000" cy="366848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spcBef>
                <a:spcPts val="200"/>
              </a:spcBef>
              <a:buFontTx/>
              <a:buChar char="-"/>
            </a:pPr>
            <a:endParaRPr lang="es-MX" sz="2000" noProof="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r>
              <a:rPr lang="es-MX" sz="2000" noProof="0" dirty="0">
                <a:latin typeface="Arial" panose="020B0604020202020204" pitchFamily="34" charset="0"/>
                <a:ea typeface="Times New Roman" panose="02020603050405020304" pitchFamily="18" charset="0"/>
              </a:rPr>
              <a:t>Mayor y mejor entendimiento del mercado y de las relaciones de consumo, permitiendo alinear las estrategias de venta del cliente con los hábitos de compra de los hogares</a:t>
            </a: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endParaRPr lang="es-MX" sz="2000" noProof="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r>
              <a:rPr lang="es-MX" sz="2000" noProof="0" dirty="0">
                <a:latin typeface="Arial" panose="020B0604020202020204" pitchFamily="34" charset="0"/>
                <a:ea typeface="Times New Roman" panose="02020603050405020304" pitchFamily="18" charset="0"/>
              </a:rPr>
              <a:t>Encontrar oportunidades de mejora en nuestro servicio y posicionarlo como aporte de valor para el cliente</a:t>
            </a: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endParaRPr lang="es-MX" sz="2000" noProof="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r>
              <a:rPr lang="es-MX" sz="2000" noProof="0" dirty="0">
                <a:latin typeface="Arial" panose="020B0604020202020204" pitchFamily="34" charset="0"/>
                <a:ea typeface="Times New Roman" panose="02020603050405020304" pitchFamily="18" charset="0"/>
              </a:rPr>
              <a:t>Estimar el pipeline del fabricante/marca/segmento</a:t>
            </a: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endParaRPr lang="es-MX" sz="2000" noProof="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Bef>
                <a:spcPts val="200"/>
              </a:spcBef>
              <a:buFontTx/>
              <a:buChar char="-"/>
            </a:pPr>
            <a:r>
              <a:rPr lang="es-MX" sz="2000" noProof="0" dirty="0">
                <a:latin typeface="Arial"/>
                <a:ea typeface="Times New Roman" panose="02020603050405020304" pitchFamily="18" charset="0"/>
                <a:cs typeface="Arial"/>
              </a:rPr>
              <a:t>Validar</a:t>
            </a:r>
            <a:r>
              <a:rPr lang="es-MX" sz="2000" noProof="0" dirty="0">
                <a:latin typeface="Arial"/>
                <a:ea typeface="Times New Roman" panose="02020603050405020304" pitchFamily="18" charset="0"/>
                <a:cs typeface="Calibri"/>
              </a:rPr>
              <a:t> tendencias</a:t>
            </a:r>
            <a:r>
              <a:rPr lang="es-MX" sz="2000" noProof="0" dirty="0">
                <a:cs typeface="Calibri"/>
              </a:rPr>
              <a:t> y variaciones</a:t>
            </a:r>
            <a:r>
              <a:rPr lang="es-MX" sz="2000" dirty="0">
                <a:cs typeface="Calibri"/>
              </a:rPr>
              <a:t> de </a:t>
            </a:r>
            <a:r>
              <a:rPr lang="es-MX" sz="2000" noProof="0" dirty="0">
                <a:cs typeface="Calibri"/>
              </a:rPr>
              <a:t>corto a largo plaz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DB71944-400B-FCDF-FAF6-568D9BA1A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79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71449-9355-C38A-52EB-E6B55C3F5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88E89576-245B-5261-0318-79A269BCD87D}"/>
              </a:ext>
            </a:extLst>
          </p:cNvPr>
          <p:cNvSpPr txBox="1">
            <a:spLocks/>
          </p:cNvSpPr>
          <p:nvPr/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400" b="1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noProof="0" dirty="0"/>
              <a:t>Cobertura: Definición y Cálculo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28DC4A99-00B8-2391-7FBB-8A964FD5BDED}"/>
              </a:ext>
            </a:extLst>
          </p:cNvPr>
          <p:cNvSpPr txBox="1">
            <a:spLocks/>
          </p:cNvSpPr>
          <p:nvPr/>
        </p:nvSpPr>
        <p:spPr>
          <a:xfrm>
            <a:off x="360363" y="910799"/>
            <a:ext cx="11466512" cy="7520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MX" sz="1800" noProof="0" dirty="0"/>
              <a:t>Relación entre el tamaño de mercado colectado (nuestras compras) y el VOLUMEN TOTAL DE PRODUCTO que es distribuido por un fabricante en ese mercado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Marcador de texto 4">
                <a:extLst>
                  <a:ext uri="{FF2B5EF4-FFF2-40B4-BE49-F238E27FC236}">
                    <a16:creationId xmlns:a16="http://schemas.microsoft.com/office/drawing/2014/main" id="{A05990E3-3E32-8FA4-64A3-29C6DC3351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57372" y="1877983"/>
                <a:ext cx="5626800" cy="752052"/>
              </a:xfrm>
              <a:prstGeom prst="rect">
                <a:avLst/>
              </a:prstGeom>
              <a:solidFill>
                <a:srgbClr val="77C9D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57188" indent="-179388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tabLst/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78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tabLst/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758825" indent="-179388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tabLst/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982663" indent="-179388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tabLst/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800" b="1" i="1" noProof="0" smtClean="0">
                          <a:latin typeface="Cambria Math" panose="02040503050406030204" pitchFamily="18" charset="0"/>
                        </a:rPr>
                        <m:t>𝑪𝒐𝒃𝒆𝒓𝒕𝒖𝒓𝒂</m:t>
                      </m:r>
                      <m:r>
                        <a:rPr lang="es-MX" sz="1800" b="1" i="1" noProof="0" smtClean="0">
                          <a:latin typeface="Cambria Math" panose="02040503050406030204" pitchFamily="18" charset="0"/>
                        </a:rPr>
                        <m:t> =</m:t>
                      </m:r>
                      <m:f>
                        <m:fPr>
                          <m:ctrlP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𝒐𝒎𝒑𝒓𝒂𝒔</m:t>
                          </m:r>
                        </m:num>
                        <m:den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𝑽𝒆𝒏𝒕𝒂𝒔</m:t>
                          </m:r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𝒍𝒊𝒆𝒏𝒕𝒆</m:t>
                          </m:r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/</m:t>
                          </m:r>
                          <m:r>
                            <a:rPr lang="es-MX" sz="1800" b="1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𝑺𝒉𝒊𝒑𝒎𝒆𝒏𝒕𝒔</m:t>
                          </m:r>
                        </m:den>
                      </m:f>
                    </m:oMath>
                  </m:oMathPara>
                </a14:m>
                <a:endParaRPr lang="es-MX" sz="1800" noProof="0" dirty="0"/>
              </a:p>
            </p:txBody>
          </p:sp>
        </mc:Choice>
        <mc:Fallback xmlns="">
          <p:sp>
            <p:nvSpPr>
              <p:cNvPr id="8" name="Marcador de texto 4">
                <a:extLst>
                  <a:ext uri="{FF2B5EF4-FFF2-40B4-BE49-F238E27FC236}">
                    <a16:creationId xmlns:a16="http://schemas.microsoft.com/office/drawing/2014/main" id="{A05990E3-3E32-8FA4-64A3-29C6DC3351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7372" y="1877983"/>
                <a:ext cx="5626800" cy="75205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>
            <a:extLst>
              <a:ext uri="{FF2B5EF4-FFF2-40B4-BE49-F238E27FC236}">
                <a16:creationId xmlns:a16="http://schemas.microsoft.com/office/drawing/2014/main" id="{D8D3B080-0CE7-A7EB-181F-233E5CD63FD9}"/>
              </a:ext>
            </a:extLst>
          </p:cNvPr>
          <p:cNvGrpSpPr/>
          <p:nvPr/>
        </p:nvGrpSpPr>
        <p:grpSpPr>
          <a:xfrm>
            <a:off x="3158072" y="3652839"/>
            <a:ext cx="5626100" cy="1150254"/>
            <a:chOff x="0" y="0"/>
            <a:chExt cx="5626100" cy="1150254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978AD79B-4208-3575-4BFA-9287384C292E}"/>
                </a:ext>
              </a:extLst>
            </p:cNvPr>
            <p:cNvSpPr/>
            <p:nvPr/>
          </p:nvSpPr>
          <p:spPr>
            <a:xfrm>
              <a:off x="0" y="0"/>
              <a:ext cx="5626100" cy="115025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s-MX" noProof="0" dirty="0"/>
            </a:p>
          </p:txBody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A7F30DF8-8B8D-FA49-8620-8450EBEAD206}"/>
                </a:ext>
              </a:extLst>
            </p:cNvPr>
            <p:cNvSpPr txBox="1"/>
            <p:nvPr/>
          </p:nvSpPr>
          <p:spPr>
            <a:xfrm>
              <a:off x="1240245" y="0"/>
              <a:ext cx="4385854" cy="11502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MX" sz="1900" kern="1200" noProof="0" dirty="0"/>
                <a:t>En volumen – mismas unidade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s-MX" sz="1500" kern="1200" noProof="0" dirty="0"/>
                <a:t>kilos, litros, </a:t>
              </a:r>
              <a:r>
                <a:rPr lang="es-MX" sz="1500" kern="1200" noProof="0" dirty="0" err="1"/>
                <a:t>stat</a:t>
              </a:r>
              <a:r>
                <a:rPr lang="es-MX" sz="1500" kern="1200" noProof="0" dirty="0"/>
                <a:t> </a:t>
              </a:r>
              <a:r>
                <a:rPr lang="es-MX" sz="1500" kern="1200" noProof="0" dirty="0" err="1"/>
                <a:t>units</a:t>
              </a:r>
              <a:endParaRPr lang="es-MX" sz="1500" kern="1200" noProof="0" dirty="0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750B5E6-307C-8BEA-2F78-4428B36C35CA}"/>
              </a:ext>
            </a:extLst>
          </p:cNvPr>
          <p:cNvSpPr/>
          <p:nvPr/>
        </p:nvSpPr>
        <p:spPr>
          <a:xfrm>
            <a:off x="3215585" y="3767864"/>
            <a:ext cx="1125220" cy="920203"/>
          </a:xfrm>
          <a:prstGeom prst="roundRect">
            <a:avLst>
              <a:gd name="adj" fmla="val 10000"/>
            </a:avLst>
          </a:prstGeom>
          <a:blipFill rotWithShape="1">
            <a:blip r:embed="rId3"/>
            <a:srcRect/>
            <a:stretch>
              <a:fillRect t="-11000" b="-11000"/>
            </a:stretch>
          </a:blipFill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MX" noProof="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4534C3-27C3-62B3-1237-DA0A8D34C54B}"/>
              </a:ext>
            </a:extLst>
          </p:cNvPr>
          <p:cNvGrpSpPr/>
          <p:nvPr/>
        </p:nvGrpSpPr>
        <p:grpSpPr>
          <a:xfrm>
            <a:off x="3158072" y="4873829"/>
            <a:ext cx="5626100" cy="1150254"/>
            <a:chOff x="0" y="1265869"/>
            <a:chExt cx="5626100" cy="1150254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A20A9E9-C287-9E94-BE3F-E67294777591}"/>
                </a:ext>
              </a:extLst>
            </p:cNvPr>
            <p:cNvSpPr/>
            <p:nvPr/>
          </p:nvSpPr>
          <p:spPr>
            <a:xfrm>
              <a:off x="0" y="1265869"/>
              <a:ext cx="5626100" cy="115025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s-MX" noProof="0" dirty="0"/>
            </a:p>
          </p:txBody>
        </p:sp>
        <p:sp>
          <p:nvSpPr>
            <p:cNvPr id="19" name="Rectangle: Rounded Corners 4">
              <a:extLst>
                <a:ext uri="{FF2B5EF4-FFF2-40B4-BE49-F238E27FC236}">
                  <a16:creationId xmlns:a16="http://schemas.microsoft.com/office/drawing/2014/main" id="{4386FE9D-02A7-53EA-78AC-B23A90330F55}"/>
                </a:ext>
              </a:extLst>
            </p:cNvPr>
            <p:cNvSpPr txBox="1"/>
            <p:nvPr/>
          </p:nvSpPr>
          <p:spPr>
            <a:xfrm>
              <a:off x="1240245" y="1265869"/>
              <a:ext cx="4385854" cy="11502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MX" sz="1900" kern="1200" noProof="0" dirty="0"/>
                <a:t>En años móvile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s-MX" sz="1500" kern="1200" noProof="0" dirty="0"/>
                <a:t>Para entender en el largo plazo los efectos generales de: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s-MX" sz="1500" kern="1200" noProof="0" dirty="0"/>
                <a:t>Estacionalidades, campañas de venta, pipeline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876479F-C6A5-A9EE-FB3A-B5FBAF6D09E3}"/>
              </a:ext>
            </a:extLst>
          </p:cNvPr>
          <p:cNvSpPr/>
          <p:nvPr/>
        </p:nvSpPr>
        <p:spPr>
          <a:xfrm>
            <a:off x="3215585" y="4918118"/>
            <a:ext cx="1125220" cy="920203"/>
          </a:xfrm>
          <a:prstGeom prst="roundRect">
            <a:avLst>
              <a:gd name="adj" fmla="val 10000"/>
            </a:avLst>
          </a:prstGeom>
          <a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MX" noProof="0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42C44D0-EDE5-1911-D96A-E79278FFC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46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1595A5-5224-EEF8-3989-8D22D261FE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4C9A6680-243D-21CB-D48C-DAA35D705D1B}"/>
              </a:ext>
            </a:extLst>
          </p:cNvPr>
          <p:cNvSpPr txBox="1">
            <a:spLocks/>
          </p:cNvSpPr>
          <p:nvPr/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400" b="1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noProof="0" dirty="0"/>
              <a:t>Pipeline: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CB57F0E-7F25-2F44-751F-603B09507E8B}"/>
              </a:ext>
            </a:extLst>
          </p:cNvPr>
          <p:cNvSpPr txBox="1">
            <a:spLocks/>
          </p:cNvSpPr>
          <p:nvPr/>
        </p:nvSpPr>
        <p:spPr>
          <a:xfrm>
            <a:off x="360363" y="910800"/>
            <a:ext cx="11466000" cy="396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Tiempo en meses entre la venta del fabricante y el momento de compra del hogar</a:t>
            </a:r>
          </a:p>
          <a:p>
            <a:r>
              <a:rPr lang="es-MX" noProof="0" dirty="0"/>
              <a:t>Se inicia con mínimo de un mes por el tiempo entre la venta y el surtido /  disponibilidad en punto de venta.</a:t>
            </a:r>
          </a:p>
        </p:txBody>
      </p:sp>
      <p:sp>
        <p:nvSpPr>
          <p:cNvPr id="6" name="Marcador de contenido 50">
            <a:extLst>
              <a:ext uri="{FF2B5EF4-FFF2-40B4-BE49-F238E27FC236}">
                <a16:creationId xmlns:a16="http://schemas.microsoft.com/office/drawing/2014/main" id="{CA636E05-5733-A971-9780-C848DB3F6AF2}"/>
              </a:ext>
            </a:extLst>
          </p:cNvPr>
          <p:cNvSpPr txBox="1">
            <a:spLocks/>
          </p:cNvSpPr>
          <p:nvPr/>
        </p:nvSpPr>
        <p:spPr>
          <a:xfrm>
            <a:off x="8320854" y="1852387"/>
            <a:ext cx="3361111" cy="2616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a considerar:</a:t>
            </a:r>
          </a:p>
          <a:p>
            <a:pPr marL="228600" indent="-228600" algn="just">
              <a:buFont typeface="Arial" panose="020B0604020202020204" pitchFamily="34" charset="0"/>
              <a:buAutoNum type="arabicPeriod"/>
            </a:pPr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a útil del producto: pipeline más corto en productos frescos / alta rotación.</a:t>
            </a:r>
          </a:p>
          <a:p>
            <a:pPr marL="228600" indent="-228600" algn="just">
              <a:buFont typeface="Arial" panose="020B0604020202020204" pitchFamily="34" charset="0"/>
              <a:buAutoNum type="arabicPeriod"/>
            </a:pPr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ena de distribución: distribución directa vs indirecta.</a:t>
            </a:r>
          </a:p>
          <a:p>
            <a:pPr marL="228600" indent="-228600" algn="just">
              <a:buFont typeface="Arial" panose="020B0604020202020204" pitchFamily="34" charset="0"/>
              <a:buAutoNum type="arabicPeriod"/>
            </a:pPr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grafía: Tiempos de traslado.</a:t>
            </a:r>
          </a:p>
          <a:p>
            <a:pPr marL="228600" indent="-228600" algn="just">
              <a:buFont typeface="Arial" panose="020B0604020202020204" pitchFamily="34" charset="0"/>
              <a:buAutoNum type="arabicPeriod"/>
            </a:pPr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de mercado: previsión de aumento de precios.</a:t>
            </a:r>
          </a:p>
          <a:p>
            <a:pPr marL="228600" indent="-228600" algn="just">
              <a:buFont typeface="Arial" panose="020B0604020202020204" pitchFamily="34" charset="0"/>
              <a:buAutoNum type="arabicPeriod"/>
            </a:pPr>
            <a:r>
              <a:rPr lang="es-MX" sz="120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es comerciales: campañas de ventas de la empresa/ cierres de año calendario.</a:t>
            </a:r>
          </a:p>
        </p:txBody>
      </p:sp>
      <p:sp>
        <p:nvSpPr>
          <p:cNvPr id="9" name="CuadroTexto 5">
            <a:extLst>
              <a:ext uri="{FF2B5EF4-FFF2-40B4-BE49-F238E27FC236}">
                <a16:creationId xmlns:a16="http://schemas.microsoft.com/office/drawing/2014/main" id="{0FE7F32B-143D-DFB3-F8D4-A3CE2D607B29}"/>
              </a:ext>
            </a:extLst>
          </p:cNvPr>
          <p:cNvSpPr txBox="1"/>
          <p:nvPr/>
        </p:nvSpPr>
        <p:spPr>
          <a:xfrm>
            <a:off x="8234721" y="4667133"/>
            <a:ext cx="3824119" cy="1569660"/>
          </a:xfrm>
          <a:prstGeom prst="rect">
            <a:avLst/>
          </a:prstGeom>
          <a:gradFill>
            <a:gsLst>
              <a:gs pos="0">
                <a:srgbClr val="2EEFEF"/>
              </a:gs>
              <a:gs pos="100000">
                <a:srgbClr val="0CF0B8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s-MX" sz="1200" b="1" noProof="0" dirty="0"/>
              <a:t>El pipeline se ve altamente impactado por las variaciones en los </a:t>
            </a:r>
            <a:r>
              <a:rPr lang="es-MX" sz="1200" b="1" noProof="0" dirty="0" err="1"/>
              <a:t>shipments</a:t>
            </a:r>
            <a:r>
              <a:rPr lang="es-MX" sz="1200" b="1" noProof="0" dirty="0"/>
              <a:t> del cliente</a:t>
            </a:r>
          </a:p>
          <a:p>
            <a:endParaRPr lang="es-MX" sz="1200" b="1" noProof="0" dirty="0"/>
          </a:p>
          <a:p>
            <a:r>
              <a:rPr lang="es-MX" sz="1200" b="1" noProof="0" dirty="0"/>
              <a:t>Si las ventas del cliente crecen más allá de la tendencia anterior, el pipeline </a:t>
            </a:r>
            <a:r>
              <a:rPr lang="es-MX" sz="1200" b="1" u="sng" noProof="0" dirty="0"/>
              <a:t>tiende</a:t>
            </a:r>
            <a:r>
              <a:rPr lang="es-MX" sz="1200" b="1" noProof="0" dirty="0"/>
              <a:t> aumenta; y, si las ventas del cliente disminuyen, también </a:t>
            </a:r>
            <a:r>
              <a:rPr lang="es-MX" sz="1200" b="1" u="sng" noProof="0" dirty="0"/>
              <a:t>tiende</a:t>
            </a:r>
            <a:r>
              <a:rPr lang="es-MX" sz="1200" b="1" noProof="0" dirty="0"/>
              <a:t> a se producir un acortamiento en el pipeline 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9C2FD5-53D0-9851-04FB-701718304B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99" y="1742706"/>
            <a:ext cx="7668722" cy="4489928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6A6234B-4288-BAE0-D751-AA3267069A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DDADC0-093A-8457-7B32-45C0EE0B8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32">
            <a:extLst>
              <a:ext uri="{FF2B5EF4-FFF2-40B4-BE49-F238E27FC236}">
                <a16:creationId xmlns:a16="http://schemas.microsoft.com/office/drawing/2014/main" id="{C0AEDF47-6308-6499-682C-4B607C8A57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809" y="2749316"/>
            <a:ext cx="6674697" cy="3286196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E72E244B-12B9-388B-2C1E-108484C6B772}"/>
              </a:ext>
            </a:extLst>
          </p:cNvPr>
          <p:cNvSpPr txBox="1">
            <a:spLocks/>
          </p:cNvSpPr>
          <p:nvPr/>
        </p:nvSpPr>
        <p:spPr>
          <a:xfrm>
            <a:off x="360000" y="194136"/>
            <a:ext cx="11605021" cy="403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400" b="1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noProof="0" dirty="0"/>
              <a:t>Marco estadístico: Relación entre penetración y variabilidad de los resultados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AF4C686-F8F3-B0E0-B6D5-49F1D091BE43}"/>
              </a:ext>
            </a:extLst>
          </p:cNvPr>
          <p:cNvSpPr txBox="1">
            <a:spLocks/>
          </p:cNvSpPr>
          <p:nvPr/>
        </p:nvSpPr>
        <p:spPr>
          <a:xfrm>
            <a:off x="280779" y="850375"/>
            <a:ext cx="11477331" cy="5981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b="1" noProof="0" dirty="0"/>
              <a:t>Penetración</a:t>
            </a:r>
            <a:r>
              <a:rPr lang="es-MX" noProof="0" dirty="0"/>
              <a:t>: Porcentaje de hogares que realizaron por lo menos </a:t>
            </a:r>
            <a:r>
              <a:rPr lang="es-MX" b="1" noProof="0" dirty="0"/>
              <a:t>UN acto de compra </a:t>
            </a:r>
            <a:r>
              <a:rPr lang="es-MX" noProof="0" dirty="0"/>
              <a:t>de la categoría/ marca/ canal/ cadena/ segmento en el período seleccionado.</a:t>
            </a:r>
          </a:p>
          <a:p>
            <a:r>
              <a:rPr lang="es-MX" noProof="0" dirty="0"/>
              <a:t> </a:t>
            </a:r>
            <a:endParaRPr lang="es-MX" noProof="0" dirty="0">
              <a:highlight>
                <a:srgbClr val="FFFF00"/>
              </a:highlight>
            </a:endParaRPr>
          </a:p>
        </p:txBody>
      </p:sp>
      <p:pic>
        <p:nvPicPr>
          <p:cNvPr id="8" name="Imagen 19">
            <a:extLst>
              <a:ext uri="{FF2B5EF4-FFF2-40B4-BE49-F238E27FC236}">
                <a16:creationId xmlns:a16="http://schemas.microsoft.com/office/drawing/2014/main" id="{F570EC57-2506-16AC-4745-0115E53EF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3803" y="3312438"/>
            <a:ext cx="3360867" cy="1213647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B63B86A-1052-76B0-47C0-558B39317BDD}"/>
              </a:ext>
            </a:extLst>
          </p:cNvPr>
          <p:cNvSpPr txBox="1">
            <a:spLocks/>
          </p:cNvSpPr>
          <p:nvPr/>
        </p:nvSpPr>
        <p:spPr>
          <a:xfrm>
            <a:off x="332743" y="2458088"/>
            <a:ext cx="2671066" cy="22403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Las marcas / categorías con niveles de penetración más pequeños tienen un margen de error estándar más alto. </a:t>
            </a:r>
            <a:br>
              <a:rPr lang="es-MX" noProof="0" dirty="0"/>
            </a:br>
            <a:br>
              <a:rPr lang="es-MX" noProof="0" dirty="0"/>
            </a:br>
            <a:r>
              <a:rPr lang="es-MX" noProof="0" dirty="0"/>
              <a:t>Es decir, la precisión es menor para penetraciones pequeñas (tamaño de muestra menor)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44E12375-5A5F-FFCA-9F69-89C3BF9BBD77}"/>
              </a:ext>
            </a:extLst>
          </p:cNvPr>
          <p:cNvSpPr txBox="1">
            <a:spLocks/>
          </p:cNvSpPr>
          <p:nvPr/>
        </p:nvSpPr>
        <p:spPr>
          <a:xfrm>
            <a:off x="10145948" y="5836003"/>
            <a:ext cx="1891331" cy="5539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900" noProof="0" dirty="0"/>
              <a:t>*Penetraciones como promedio mensual de los últimos 12 meses</a:t>
            </a:r>
          </a:p>
        </p:txBody>
      </p:sp>
      <p:grpSp>
        <p:nvGrpSpPr>
          <p:cNvPr id="14" name="Grupo 26">
            <a:extLst>
              <a:ext uri="{FF2B5EF4-FFF2-40B4-BE49-F238E27FC236}">
                <a16:creationId xmlns:a16="http://schemas.microsoft.com/office/drawing/2014/main" id="{94CE32FE-1220-DA29-6011-D00A4671FC1C}"/>
              </a:ext>
            </a:extLst>
          </p:cNvPr>
          <p:cNvGrpSpPr/>
          <p:nvPr/>
        </p:nvGrpSpPr>
        <p:grpSpPr>
          <a:xfrm>
            <a:off x="3793030" y="2163156"/>
            <a:ext cx="1193268" cy="4315466"/>
            <a:chOff x="2034812" y="990409"/>
            <a:chExt cx="1392643" cy="4482124"/>
          </a:xfrm>
        </p:grpSpPr>
        <p:sp>
          <p:nvSpPr>
            <p:cNvPr id="15" name="CuadroTexto 27">
              <a:extLst>
                <a:ext uri="{FF2B5EF4-FFF2-40B4-BE49-F238E27FC236}">
                  <a16:creationId xmlns:a16="http://schemas.microsoft.com/office/drawing/2014/main" id="{1C3D3803-ACA8-47F5-25BF-021B001249D9}"/>
                </a:ext>
              </a:extLst>
            </p:cNvPr>
            <p:cNvSpPr txBox="1"/>
            <p:nvPr/>
          </p:nvSpPr>
          <p:spPr>
            <a:xfrm>
              <a:off x="2518491" y="990409"/>
              <a:ext cx="741915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MX" sz="900" noProof="0" dirty="0">
                  <a:highlight>
                    <a:srgbClr val="FFFFFF"/>
                  </a:highlight>
                </a:rPr>
                <a:t>16 </a:t>
              </a:r>
              <a:r>
                <a:rPr lang="es-MX" sz="900" noProof="0" dirty="0" err="1">
                  <a:highlight>
                    <a:srgbClr val="FFFFFF"/>
                  </a:highlight>
                </a:rPr>
                <a:t>pix</a:t>
              </a:r>
              <a:endParaRPr lang="es-MX" sz="900" noProof="0" dirty="0"/>
            </a:p>
          </p:txBody>
        </p:sp>
        <p:grpSp>
          <p:nvGrpSpPr>
            <p:cNvPr id="16" name="Grupo 28">
              <a:extLst>
                <a:ext uri="{FF2B5EF4-FFF2-40B4-BE49-F238E27FC236}">
                  <a16:creationId xmlns:a16="http://schemas.microsoft.com/office/drawing/2014/main" id="{70338E25-521B-3F2E-6078-1BDB15BB38EB}"/>
                </a:ext>
              </a:extLst>
            </p:cNvPr>
            <p:cNvGrpSpPr/>
            <p:nvPr/>
          </p:nvGrpSpPr>
          <p:grpSpPr>
            <a:xfrm>
              <a:off x="2034813" y="2421332"/>
              <a:ext cx="1392644" cy="3051212"/>
              <a:chOff x="1695450" y="2421332"/>
              <a:chExt cx="1392644" cy="3051212"/>
            </a:xfrm>
          </p:grpSpPr>
          <p:sp>
            <p:nvSpPr>
              <p:cNvPr id="18" name="CuadroTexto 30">
                <a:extLst>
                  <a:ext uri="{FF2B5EF4-FFF2-40B4-BE49-F238E27FC236}">
                    <a16:creationId xmlns:a16="http://schemas.microsoft.com/office/drawing/2014/main" id="{7F272577-02C1-F824-330D-2C50E1B5BDD6}"/>
                  </a:ext>
                </a:extLst>
              </p:cNvPr>
              <p:cNvSpPr txBox="1"/>
              <p:nvPr/>
            </p:nvSpPr>
            <p:spPr>
              <a:xfrm>
                <a:off x="1695450" y="5026601"/>
                <a:ext cx="1392644" cy="44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MX" sz="1200" noProof="0" dirty="0">
                    <a:highlight>
                      <a:srgbClr val="FFFFFF"/>
                    </a:highlight>
                  </a:rPr>
                  <a:t>Marcas de baja penetración</a:t>
                </a:r>
              </a:p>
            </p:txBody>
          </p:sp>
          <p:cxnSp>
            <p:nvCxnSpPr>
              <p:cNvPr id="19" name="Conector recto 31">
                <a:extLst>
                  <a:ext uri="{FF2B5EF4-FFF2-40B4-BE49-F238E27FC236}">
                    <a16:creationId xmlns:a16="http://schemas.microsoft.com/office/drawing/2014/main" id="{10479E59-8B52-0C93-BD11-DF7E1B9ED6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0086" y="2421332"/>
                <a:ext cx="0" cy="2630221"/>
              </a:xfrm>
              <a:prstGeom prst="line">
                <a:avLst/>
              </a:prstGeom>
              <a:ln w="28575">
                <a:solidFill>
                  <a:srgbClr val="C00000"/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upo 20">
            <a:extLst>
              <a:ext uri="{FF2B5EF4-FFF2-40B4-BE49-F238E27FC236}">
                <a16:creationId xmlns:a16="http://schemas.microsoft.com/office/drawing/2014/main" id="{F879BA72-4D24-F998-1FE3-1A7C6930640C}"/>
              </a:ext>
            </a:extLst>
          </p:cNvPr>
          <p:cNvGrpSpPr/>
          <p:nvPr/>
        </p:nvGrpSpPr>
        <p:grpSpPr>
          <a:xfrm>
            <a:off x="5297768" y="2163154"/>
            <a:ext cx="1591338" cy="4255439"/>
            <a:chOff x="3251971" y="964989"/>
            <a:chExt cx="1857226" cy="5138155"/>
          </a:xfrm>
        </p:grpSpPr>
        <p:grpSp>
          <p:nvGrpSpPr>
            <p:cNvPr id="21" name="Grupo 21">
              <a:extLst>
                <a:ext uri="{FF2B5EF4-FFF2-40B4-BE49-F238E27FC236}">
                  <a16:creationId xmlns:a16="http://schemas.microsoft.com/office/drawing/2014/main" id="{9CFE2538-D552-5228-24A9-76A831A08DAE}"/>
                </a:ext>
              </a:extLst>
            </p:cNvPr>
            <p:cNvGrpSpPr/>
            <p:nvPr/>
          </p:nvGrpSpPr>
          <p:grpSpPr>
            <a:xfrm>
              <a:off x="3251971" y="2539517"/>
              <a:ext cx="1857226" cy="3563627"/>
              <a:chOff x="2997451" y="2614933"/>
              <a:chExt cx="1857226" cy="3563627"/>
            </a:xfrm>
          </p:grpSpPr>
          <p:cxnSp>
            <p:nvCxnSpPr>
              <p:cNvPr id="24" name="Conector recto 24">
                <a:extLst>
                  <a:ext uri="{FF2B5EF4-FFF2-40B4-BE49-F238E27FC236}">
                    <a16:creationId xmlns:a16="http://schemas.microsoft.com/office/drawing/2014/main" id="{833BEE9D-FAA5-0BBC-0A11-E1C0CF206A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86043" y="2614933"/>
                <a:ext cx="0" cy="2982833"/>
              </a:xfrm>
              <a:prstGeom prst="line">
                <a:avLst/>
              </a:prstGeom>
              <a:ln w="28575">
                <a:solidFill>
                  <a:srgbClr val="C00000"/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CuadroTexto 25">
                <a:extLst>
                  <a:ext uri="{FF2B5EF4-FFF2-40B4-BE49-F238E27FC236}">
                    <a16:creationId xmlns:a16="http://schemas.microsoft.com/office/drawing/2014/main" id="{A64F34E0-0081-5E72-2ACE-8582FCDD4E1C}"/>
                  </a:ext>
                </a:extLst>
              </p:cNvPr>
              <p:cNvSpPr txBox="1"/>
              <p:nvPr/>
            </p:nvSpPr>
            <p:spPr>
              <a:xfrm>
                <a:off x="2997451" y="5732617"/>
                <a:ext cx="1857226" cy="44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MX" sz="1200" noProof="0" dirty="0">
                    <a:highlight>
                      <a:srgbClr val="FFFFFF"/>
                    </a:highlight>
                  </a:rPr>
                  <a:t>Marcas de mediana penetración</a:t>
                </a:r>
              </a:p>
            </p:txBody>
          </p:sp>
        </p:grpSp>
        <p:sp>
          <p:nvSpPr>
            <p:cNvPr id="23" name="CuadroTexto 23">
              <a:extLst>
                <a:ext uri="{FF2B5EF4-FFF2-40B4-BE49-F238E27FC236}">
                  <a16:creationId xmlns:a16="http://schemas.microsoft.com/office/drawing/2014/main" id="{63DEC7FB-A0B1-4632-9CB0-5E3A9C4F2F36}"/>
                </a:ext>
              </a:extLst>
            </p:cNvPr>
            <p:cNvSpPr txBox="1"/>
            <p:nvPr/>
          </p:nvSpPr>
          <p:spPr>
            <a:xfrm>
              <a:off x="3766673" y="964989"/>
              <a:ext cx="741915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MX" sz="900" noProof="0" dirty="0">
                  <a:highlight>
                    <a:srgbClr val="FFFFFF"/>
                  </a:highlight>
                </a:rPr>
                <a:t>32 </a:t>
              </a:r>
              <a:r>
                <a:rPr lang="es-MX" sz="900" noProof="0" dirty="0" err="1">
                  <a:highlight>
                    <a:srgbClr val="FFFFFF"/>
                  </a:highlight>
                </a:rPr>
                <a:t>pix</a:t>
              </a:r>
              <a:endParaRPr lang="es-MX" sz="900" noProof="0" dirty="0"/>
            </a:p>
          </p:txBody>
        </p:sp>
      </p:grpSp>
      <p:grpSp>
        <p:nvGrpSpPr>
          <p:cNvPr id="26" name="Grupo 11">
            <a:extLst>
              <a:ext uri="{FF2B5EF4-FFF2-40B4-BE49-F238E27FC236}">
                <a16:creationId xmlns:a16="http://schemas.microsoft.com/office/drawing/2014/main" id="{4E4D7265-827C-4E15-0F28-2E2C59334D8C}"/>
              </a:ext>
            </a:extLst>
          </p:cNvPr>
          <p:cNvGrpSpPr/>
          <p:nvPr/>
        </p:nvGrpSpPr>
        <p:grpSpPr>
          <a:xfrm>
            <a:off x="7497060" y="2152064"/>
            <a:ext cx="1514844" cy="4216975"/>
            <a:chOff x="5019343" y="980982"/>
            <a:chExt cx="1767949" cy="5091710"/>
          </a:xfrm>
        </p:grpSpPr>
        <p:sp>
          <p:nvSpPr>
            <p:cNvPr id="27" name="CuadroTexto 13">
              <a:extLst>
                <a:ext uri="{FF2B5EF4-FFF2-40B4-BE49-F238E27FC236}">
                  <a16:creationId xmlns:a16="http://schemas.microsoft.com/office/drawing/2014/main" id="{CA2AD092-E9B8-9ED0-FC6D-5C1ED0067484}"/>
                </a:ext>
              </a:extLst>
            </p:cNvPr>
            <p:cNvSpPr txBox="1"/>
            <p:nvPr/>
          </p:nvSpPr>
          <p:spPr>
            <a:xfrm>
              <a:off x="5019343" y="980982"/>
              <a:ext cx="684435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MX" sz="900" noProof="0" dirty="0">
                  <a:highlight>
                    <a:srgbClr val="FFFFFF"/>
                  </a:highlight>
                </a:rPr>
                <a:t>64 </a:t>
              </a:r>
              <a:r>
                <a:rPr lang="es-MX" sz="900" noProof="0" dirty="0" err="1">
                  <a:highlight>
                    <a:srgbClr val="FFFFFF"/>
                  </a:highlight>
                </a:rPr>
                <a:t>pix</a:t>
              </a:r>
              <a:endParaRPr lang="es-MX" sz="900" noProof="0" dirty="0"/>
            </a:p>
          </p:txBody>
        </p:sp>
        <p:grpSp>
          <p:nvGrpSpPr>
            <p:cNvPr id="28" name="Grupo 15">
              <a:extLst>
                <a:ext uri="{FF2B5EF4-FFF2-40B4-BE49-F238E27FC236}">
                  <a16:creationId xmlns:a16="http://schemas.microsoft.com/office/drawing/2014/main" id="{2C7BEB4C-51AA-ABA2-8AC6-7B9C8550C81B}"/>
                </a:ext>
              </a:extLst>
            </p:cNvPr>
            <p:cNvGrpSpPr/>
            <p:nvPr/>
          </p:nvGrpSpPr>
          <p:grpSpPr>
            <a:xfrm>
              <a:off x="5103506" y="2550692"/>
              <a:ext cx="1683790" cy="3522002"/>
              <a:chOff x="5310895" y="2550692"/>
              <a:chExt cx="1683790" cy="3209501"/>
            </a:xfrm>
          </p:grpSpPr>
          <p:sp>
            <p:nvSpPr>
              <p:cNvPr id="30" name="CuadroTexto 17">
                <a:extLst>
                  <a:ext uri="{FF2B5EF4-FFF2-40B4-BE49-F238E27FC236}">
                    <a16:creationId xmlns:a16="http://schemas.microsoft.com/office/drawing/2014/main" id="{6859F9C4-BAD6-0ADE-BEEB-ECCBD05D2B2E}"/>
                  </a:ext>
                </a:extLst>
              </p:cNvPr>
              <p:cNvSpPr txBox="1"/>
              <p:nvPr/>
            </p:nvSpPr>
            <p:spPr>
              <a:xfrm>
                <a:off x="5310895" y="5353817"/>
                <a:ext cx="1683790" cy="4063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s-MX" sz="1200" noProof="0" dirty="0">
                    <a:highlight>
                      <a:srgbClr val="FFFFFF"/>
                    </a:highlight>
                  </a:rPr>
                  <a:t>Marcas de alta penetración</a:t>
                </a:r>
              </a:p>
            </p:txBody>
          </p:sp>
          <p:cxnSp>
            <p:nvCxnSpPr>
              <p:cNvPr id="31" name="Conector recto 18">
                <a:extLst>
                  <a:ext uri="{FF2B5EF4-FFF2-40B4-BE49-F238E27FC236}">
                    <a16:creationId xmlns:a16="http://schemas.microsoft.com/office/drawing/2014/main" id="{560349A8-03E3-76CC-8589-872DAAEC3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68950" y="2550692"/>
                <a:ext cx="0" cy="2773019"/>
              </a:xfrm>
              <a:prstGeom prst="line">
                <a:avLst/>
              </a:prstGeom>
              <a:ln w="28575">
                <a:solidFill>
                  <a:srgbClr val="C00000"/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64EDA512-A95E-E041-3FDD-4C8AC731F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9815" y="2370602"/>
            <a:ext cx="890042" cy="103076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F4CD8970-EECA-95A1-F126-B9DE8B58E3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4806" y="2374739"/>
            <a:ext cx="866775" cy="1019175"/>
          </a:xfrm>
          <a:prstGeom prst="rect">
            <a:avLst/>
          </a:prstGeom>
        </p:spPr>
      </p:pic>
      <p:pic>
        <p:nvPicPr>
          <p:cNvPr id="37" name="Picture 36" descr="A person with short dark hair wearing a suit&#10;&#10;AI-generated content may be incorrect.">
            <a:extLst>
              <a:ext uri="{FF2B5EF4-FFF2-40B4-BE49-F238E27FC236}">
                <a16:creationId xmlns:a16="http://schemas.microsoft.com/office/drawing/2014/main" id="{17967026-97E5-9928-2250-6BCBB3D097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7312" y="2382188"/>
            <a:ext cx="866774" cy="1019174"/>
          </a:xfrm>
          <a:prstGeom prst="rect">
            <a:avLst/>
          </a:prstGeom>
        </p:spPr>
      </p:pic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88D7B0C-FFDE-BD55-70B1-9BF3FFF40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982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4EE83-ACC3-E59C-E945-3902277713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2C034298-6E91-850A-418E-7EB03FE6AA4D}"/>
              </a:ext>
            </a:extLst>
          </p:cNvPr>
          <p:cNvSpPr txBox="1">
            <a:spLocks/>
          </p:cNvSpPr>
          <p:nvPr/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400" b="1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noProof="0" dirty="0"/>
              <a:t>Factores que impactan la cobertura:</a:t>
            </a:r>
          </a:p>
        </p:txBody>
      </p:sp>
      <p:sp>
        <p:nvSpPr>
          <p:cNvPr id="5" name="Marcador de texto 9">
            <a:extLst>
              <a:ext uri="{FF2B5EF4-FFF2-40B4-BE49-F238E27FC236}">
                <a16:creationId xmlns:a16="http://schemas.microsoft.com/office/drawing/2014/main" id="{C817A5C0-ED45-B51F-9DB6-B8DF25710E19}"/>
              </a:ext>
            </a:extLst>
          </p:cNvPr>
          <p:cNvSpPr txBox="1">
            <a:spLocks/>
          </p:cNvSpPr>
          <p:nvPr/>
        </p:nvSpPr>
        <p:spPr>
          <a:xfrm>
            <a:off x="360874" y="910800"/>
            <a:ext cx="11466000" cy="396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Siempre combinando </a:t>
            </a:r>
            <a:r>
              <a:rPr lang="es-MX" noProof="0" dirty="0" err="1"/>
              <a:t>insights</a:t>
            </a:r>
            <a:r>
              <a:rPr lang="es-MX" noProof="0" dirty="0"/>
              <a:t> </a:t>
            </a:r>
            <a:r>
              <a:rPr lang="es-MX" noProof="0" dirty="0" err="1"/>
              <a:t>Worldpanel</a:t>
            </a:r>
            <a:r>
              <a:rPr lang="es-MX" noProof="0" dirty="0"/>
              <a:t> + Cliente para evaluar cada factor</a:t>
            </a:r>
          </a:p>
        </p:txBody>
      </p:sp>
      <p:sp>
        <p:nvSpPr>
          <p:cNvPr id="6" name="Marcador de contenido 4">
            <a:extLst>
              <a:ext uri="{FF2B5EF4-FFF2-40B4-BE49-F238E27FC236}">
                <a16:creationId xmlns:a16="http://schemas.microsoft.com/office/drawing/2014/main" id="{D313C710-CF8B-09A8-1EE1-DB532DB7F7DC}"/>
              </a:ext>
            </a:extLst>
          </p:cNvPr>
          <p:cNvSpPr txBox="1">
            <a:spLocks/>
          </p:cNvSpPr>
          <p:nvPr/>
        </p:nvSpPr>
        <p:spPr>
          <a:xfrm>
            <a:off x="360363" y="1710000"/>
            <a:ext cx="2149200" cy="4237200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Cobertura poblacional del panel:  </a:t>
            </a:r>
          </a:p>
          <a:p>
            <a:r>
              <a:rPr lang="es-MX" noProof="0" dirty="0"/>
              <a:t>-Establece un “techo” para la cobertura de volumen</a:t>
            </a:r>
          </a:p>
          <a:p>
            <a:r>
              <a:rPr lang="es-MX" noProof="0" dirty="0"/>
              <a:t>-Permite comprender diferentes niveles de coberturas entre diferentes países</a:t>
            </a:r>
          </a:p>
        </p:txBody>
      </p:sp>
      <p:pic>
        <p:nvPicPr>
          <p:cNvPr id="11" name="Imagen 22">
            <a:extLst>
              <a:ext uri="{FF2B5EF4-FFF2-40B4-BE49-F238E27FC236}">
                <a16:creationId xmlns:a16="http://schemas.microsoft.com/office/drawing/2014/main" id="{D10F643D-C9F7-D077-E99E-927ACC6E98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911" y="4396967"/>
            <a:ext cx="2140651" cy="1550233"/>
          </a:xfrm>
          <a:prstGeom prst="rect">
            <a:avLst/>
          </a:prstGeom>
        </p:spPr>
      </p:pic>
      <p:sp>
        <p:nvSpPr>
          <p:cNvPr id="17" name="Marcador de contenido 5">
            <a:extLst>
              <a:ext uri="{FF2B5EF4-FFF2-40B4-BE49-F238E27FC236}">
                <a16:creationId xmlns:a16="http://schemas.microsoft.com/office/drawing/2014/main" id="{CFE83AC6-0D28-56B3-1889-C1EE991F49D9}"/>
              </a:ext>
            </a:extLst>
          </p:cNvPr>
          <p:cNvSpPr txBox="1">
            <a:spLocks/>
          </p:cNvSpPr>
          <p:nvPr/>
        </p:nvSpPr>
        <p:spPr>
          <a:xfrm>
            <a:off x="2689691" y="1710000"/>
            <a:ext cx="2149200" cy="4237200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Ciclo de vida de la marca:  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Lanzamientos:  Baja cobertura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Madurez: Cobertura “real”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Salida del mercado: </a:t>
            </a:r>
            <a:r>
              <a:rPr lang="es-MX" noProof="0" dirty="0" err="1"/>
              <a:t>Sobrecobertura</a:t>
            </a:r>
            <a:endParaRPr lang="es-MX" noProof="0" dirty="0"/>
          </a:p>
        </p:txBody>
      </p:sp>
      <p:pic>
        <p:nvPicPr>
          <p:cNvPr id="22" name="Imagen 17">
            <a:extLst>
              <a:ext uri="{FF2B5EF4-FFF2-40B4-BE49-F238E27FC236}">
                <a16:creationId xmlns:a16="http://schemas.microsoft.com/office/drawing/2014/main" id="{C8DCDC81-5B9F-FA2C-7B4C-C95F78942C2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009" r="3761" b="5075"/>
          <a:stretch/>
        </p:blipFill>
        <p:spPr>
          <a:xfrm>
            <a:off x="2689690" y="4396967"/>
            <a:ext cx="2149201" cy="1550233"/>
          </a:xfrm>
          <a:prstGeom prst="rect">
            <a:avLst/>
          </a:prstGeom>
        </p:spPr>
      </p:pic>
      <p:sp>
        <p:nvSpPr>
          <p:cNvPr id="29" name="Marcador de contenido 6">
            <a:extLst>
              <a:ext uri="{FF2B5EF4-FFF2-40B4-BE49-F238E27FC236}">
                <a16:creationId xmlns:a16="http://schemas.microsoft.com/office/drawing/2014/main" id="{F1376204-4402-6237-8C27-402D349D80A7}"/>
              </a:ext>
            </a:extLst>
          </p:cNvPr>
          <p:cNvSpPr txBox="1">
            <a:spLocks/>
          </p:cNvSpPr>
          <p:nvPr/>
        </p:nvSpPr>
        <p:spPr>
          <a:xfrm>
            <a:off x="5019019" y="1710000"/>
            <a:ext cx="2149200" cy="4237200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Concentración de ventas:</a:t>
            </a:r>
          </a:p>
          <a:p>
            <a:r>
              <a:rPr lang="es-MX" noProof="0" dirty="0"/>
              <a:t>Puede ser tanto en una región o canal, o ambos</a:t>
            </a:r>
          </a:p>
          <a:p>
            <a:r>
              <a:rPr lang="es-MX" noProof="0" dirty="0"/>
              <a:t>Suelen ser productos con un target muy específico</a:t>
            </a:r>
          </a:p>
        </p:txBody>
      </p:sp>
      <p:pic>
        <p:nvPicPr>
          <p:cNvPr id="32" name="Imagen 21">
            <a:extLst>
              <a:ext uri="{FF2B5EF4-FFF2-40B4-BE49-F238E27FC236}">
                <a16:creationId xmlns:a16="http://schemas.microsoft.com/office/drawing/2014/main" id="{BBC9253A-7DF6-BB9D-1E5D-CD607FCB9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0536" y="4396968"/>
            <a:ext cx="2149201" cy="1550232"/>
          </a:xfrm>
          <a:prstGeom prst="rect">
            <a:avLst/>
          </a:prstGeom>
        </p:spPr>
      </p:pic>
      <p:sp>
        <p:nvSpPr>
          <p:cNvPr id="33" name="Marcador de contenido 8">
            <a:extLst>
              <a:ext uri="{FF2B5EF4-FFF2-40B4-BE49-F238E27FC236}">
                <a16:creationId xmlns:a16="http://schemas.microsoft.com/office/drawing/2014/main" id="{AA0F2C4C-6C7E-45D2-8DF0-D08F3C3A17C7}"/>
              </a:ext>
            </a:extLst>
          </p:cNvPr>
          <p:cNvSpPr txBox="1">
            <a:spLocks/>
          </p:cNvSpPr>
          <p:nvPr/>
        </p:nvSpPr>
        <p:spPr>
          <a:xfrm>
            <a:off x="9677674" y="1710000"/>
            <a:ext cx="2149200" cy="423720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noProof="0" dirty="0"/>
              <a:t>Factores Externos:</a:t>
            </a:r>
          </a:p>
          <a:p>
            <a:r>
              <a:rPr lang="pt-BR" noProof="0"/>
              <a:t>-    Exportaciones</a:t>
            </a:r>
            <a:endParaRPr lang="pt-BR" noProof="0" dirty="0"/>
          </a:p>
          <a:p>
            <a:r>
              <a:rPr lang="es-MX" noProof="0" dirty="0"/>
              <a:t>-    Contrabando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Realidad social del país</a:t>
            </a:r>
          </a:p>
          <a:p>
            <a:pPr marL="285750" indent="-285750">
              <a:buFontTx/>
              <a:buChar char="-"/>
            </a:pPr>
            <a:r>
              <a:rPr lang="es-MX" dirty="0"/>
              <a:t>Particularidad </a:t>
            </a:r>
            <a:r>
              <a:rPr lang="es-MX" noProof="0" dirty="0"/>
              <a:t>de la categoría</a:t>
            </a:r>
          </a:p>
        </p:txBody>
      </p:sp>
      <p:pic>
        <p:nvPicPr>
          <p:cNvPr id="36" name="Imagen 23">
            <a:extLst>
              <a:ext uri="{FF2B5EF4-FFF2-40B4-BE49-F238E27FC236}">
                <a16:creationId xmlns:a16="http://schemas.microsoft.com/office/drawing/2014/main" id="{E503E2A4-0726-C24F-5F59-9597B10625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7665" y="4380510"/>
            <a:ext cx="2173589" cy="1566690"/>
          </a:xfrm>
          <a:prstGeom prst="rect">
            <a:avLst/>
          </a:prstGeom>
        </p:spPr>
      </p:pic>
      <p:sp>
        <p:nvSpPr>
          <p:cNvPr id="38" name="Marcador de contenido 7">
            <a:extLst>
              <a:ext uri="{FF2B5EF4-FFF2-40B4-BE49-F238E27FC236}">
                <a16:creationId xmlns:a16="http://schemas.microsoft.com/office/drawing/2014/main" id="{50ED823A-BCAF-99C5-A012-DCA6B53056C7}"/>
              </a:ext>
            </a:extLst>
          </p:cNvPr>
          <p:cNvSpPr txBox="1">
            <a:spLocks/>
          </p:cNvSpPr>
          <p:nvPr/>
        </p:nvSpPr>
        <p:spPr>
          <a:xfrm>
            <a:off x="7348347" y="1710000"/>
            <a:ext cx="2149200" cy="423720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882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826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noProof="0" dirty="0"/>
              <a:t>Consumo fuera del hogar: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Institucional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Restaurantes / bares / cafeterías</a:t>
            </a:r>
          </a:p>
          <a:p>
            <a:pPr marL="285750" indent="-285750">
              <a:buFontTx/>
              <a:buChar char="-"/>
            </a:pPr>
            <a:r>
              <a:rPr lang="es-MX" noProof="0" dirty="0"/>
              <a:t>Comercio informal</a:t>
            </a:r>
          </a:p>
          <a:p>
            <a:pPr marL="285750" indent="-285750">
              <a:buFontTx/>
              <a:buChar char="-"/>
            </a:pPr>
            <a:r>
              <a:rPr lang="es-MX" noProof="0" dirty="0" err="1"/>
              <a:t>On</a:t>
            </a:r>
            <a:r>
              <a:rPr lang="es-MX" noProof="0" dirty="0"/>
              <a:t> </a:t>
            </a:r>
            <a:r>
              <a:rPr lang="es-MX" noProof="0" dirty="0" err="1"/>
              <a:t>the</a:t>
            </a:r>
            <a:r>
              <a:rPr lang="es-MX" noProof="0" dirty="0"/>
              <a:t> </a:t>
            </a:r>
            <a:r>
              <a:rPr lang="es-MX" noProof="0" dirty="0" err="1"/>
              <a:t>go</a:t>
            </a:r>
            <a:endParaRPr lang="es-MX" noProof="0" dirty="0"/>
          </a:p>
        </p:txBody>
      </p:sp>
      <p:pic>
        <p:nvPicPr>
          <p:cNvPr id="3" name="Imagen 20">
            <a:extLst>
              <a:ext uri="{FF2B5EF4-FFF2-40B4-BE49-F238E27FC236}">
                <a16:creationId xmlns:a16="http://schemas.microsoft.com/office/drawing/2014/main" id="{BA3F6FC8-4046-45D4-225C-6DE9384D2A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9016" y="4396968"/>
            <a:ext cx="2149201" cy="1550232"/>
          </a:xfrm>
          <a:prstGeom prst="rect">
            <a:avLst/>
          </a:prstGeom>
        </p:spPr>
      </p:pic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66F62A-7D22-4459-CBF2-50B8051B13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/>
              <a:t>APAC Region</a:t>
            </a:r>
            <a:r>
              <a:rPr lang="en-GB"/>
              <a:t>| </a:t>
            </a:r>
            <a:fld id="{4034BEE3-566C-4068-A777-C3A4762E861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296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D2F4D-7587-4E49-937D-080ED9004C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altLang="zh-TW" dirty="0"/>
              <a:t>Gracias!</a:t>
            </a:r>
            <a:endParaRPr lang="zh-TW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0F433A-44EF-522F-2618-56F930BF0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474" y="3764572"/>
            <a:ext cx="7362825" cy="309125"/>
          </a:xfrm>
        </p:spPr>
        <p:txBody>
          <a:bodyPr/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-65" charset="-128"/>
                <a:cs typeface="+mn-cs"/>
              </a:rPr>
              <a:t>Coverages LatAm </a:t>
            </a:r>
          </a:p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-65" charset="-128"/>
                <a:cs typeface="+mn-cs"/>
              </a:rPr>
              <a:t>&lt;LatamDQ.Coverage@kantar.com&gt;</a:t>
            </a:r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2093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CKSLIDES" val="6.1"/>
  <p:tag name="VERSIONID" val="711"/>
  <p:tag name="EXCLUDEHIDDENSLIDES" val="False"/>
  <p:tag name="NUMBEROFPAGES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Vooajn3d1klBXGLaSd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heme/theme1.xml><?xml version="1.0" encoding="utf-8"?>
<a:theme xmlns:a="http://schemas.openxmlformats.org/drawingml/2006/main" name="Kantar template master">
  <a:themeElements>
    <a:clrScheme name="Worldpanel">
      <a:dk1>
        <a:srgbClr val="000000"/>
      </a:dk1>
      <a:lt1>
        <a:srgbClr val="FFFFFF"/>
      </a:lt1>
      <a:dk2>
        <a:srgbClr val="01A7B7"/>
      </a:dk2>
      <a:lt2>
        <a:srgbClr val="014952"/>
      </a:lt2>
      <a:accent1>
        <a:srgbClr val="FFD528"/>
      </a:accent1>
      <a:accent2>
        <a:srgbClr val="2EEFEE"/>
      </a:accent2>
      <a:accent3>
        <a:srgbClr val="0CEFB7"/>
      </a:accent3>
      <a:accent4>
        <a:srgbClr val="F771A0"/>
      </a:accent4>
      <a:accent5>
        <a:srgbClr val="0078FC"/>
      </a:accent5>
      <a:accent6>
        <a:srgbClr val="FF8215"/>
      </a:accent6>
      <a:hlink>
        <a:srgbClr val="00E759"/>
      </a:hlink>
      <a:folHlink>
        <a:srgbClr val="96607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 Mar 12.potx" id="{F6463E93-BC8D-4EE7-9463-47D6D4783996}" vid="{94262253-D2DA-4D89-B5F7-49E22B4F7EF6}"/>
    </a:ext>
  </a:extLst>
</a:theme>
</file>

<file path=ppt/theme/theme2.xml><?xml version="1.0" encoding="utf-8"?>
<a:theme xmlns:a="http://schemas.openxmlformats.org/drawingml/2006/main" name="2_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.potx" id="{72C55E70-DCC0-48BC-A8D3-254C9D85EE6B}" vid="{C23FF744-6EF1-4703-9F18-C96C6AEBAFAC}"/>
    </a:ext>
  </a:extLst>
</a:theme>
</file>

<file path=ppt/theme/theme3.xml><?xml version="1.0" encoding="utf-8"?>
<a:theme xmlns:a="http://schemas.openxmlformats.org/drawingml/2006/main" name="8_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/>
      <a:lstStyle/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report template 16x9.potx" id="{5634706E-79F9-45A6-A4B5-5D8781601AAD}" vid="{621E18E1-E447-4C07-B38C-0DB4D1E96E3B}"/>
    </a:ext>
  </a:extLst>
</a:theme>
</file>

<file path=ppt/theme/theme4.xml><?xml version="1.0" encoding="utf-8"?>
<a:theme xmlns:a="http://schemas.openxmlformats.org/drawingml/2006/main" name="3_Kantar template master">
  <a:themeElements>
    <a:clrScheme name="Worldpanel">
      <a:dk1>
        <a:srgbClr val="000000"/>
      </a:dk1>
      <a:lt1>
        <a:srgbClr val="FFFFFF"/>
      </a:lt1>
      <a:dk2>
        <a:srgbClr val="01A7B7"/>
      </a:dk2>
      <a:lt2>
        <a:srgbClr val="014952"/>
      </a:lt2>
      <a:accent1>
        <a:srgbClr val="FFD528"/>
      </a:accent1>
      <a:accent2>
        <a:srgbClr val="2EEFEE"/>
      </a:accent2>
      <a:accent3>
        <a:srgbClr val="0CEFB7"/>
      </a:accent3>
      <a:accent4>
        <a:srgbClr val="F771A0"/>
      </a:accent4>
      <a:accent5>
        <a:srgbClr val="0078FC"/>
      </a:accent5>
      <a:accent6>
        <a:srgbClr val="FF8215"/>
      </a:accent6>
      <a:hlink>
        <a:srgbClr val="00E759"/>
      </a:hlink>
      <a:folHlink>
        <a:srgbClr val="96607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 Mar 12.potx" id="{F6463E93-BC8D-4EE7-9463-47D6D4783996}" vid="{94262253-D2DA-4D89-B5F7-49E22B4F7EF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5f5c1ff-a3c5-44dd-9db4-c2b03110b401">
      <Terms xmlns="http://schemas.microsoft.com/office/infopath/2007/PartnerControls"/>
    </lcf76f155ced4ddcb4097134ff3c332f>
    <TaxCatchAll xmlns="624e51cf-cfdd-4a8e-a169-534b8633fbc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56703363BD98846A62F9898DE8EBB35" ma:contentTypeVersion="18" ma:contentTypeDescription="Crear nuevo documento." ma:contentTypeScope="" ma:versionID="fd4f73081bd7a2f3381511bd0d6d3d52">
  <xsd:schema xmlns:xsd="http://www.w3.org/2001/XMLSchema" xmlns:xs="http://www.w3.org/2001/XMLSchema" xmlns:p="http://schemas.microsoft.com/office/2006/metadata/properties" xmlns:ns2="25f5c1ff-a3c5-44dd-9db4-c2b03110b401" xmlns:ns3="624e51cf-cfdd-4a8e-a169-534b8633fbcd" targetNamespace="http://schemas.microsoft.com/office/2006/metadata/properties" ma:root="true" ma:fieldsID="a164adf4ec36a1229031fee66b2c5d3c" ns2:_="" ns3:_="">
    <xsd:import namespace="25f5c1ff-a3c5-44dd-9db4-c2b03110b401"/>
    <xsd:import namespace="624e51cf-cfdd-4a8e-a169-534b8633fb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f5c1ff-a3c5-44dd-9db4-c2b03110b4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Etiquetas de imagen" ma:readOnly="false" ma:fieldId="{5cf76f15-5ced-4ddc-b409-7134ff3c332f}" ma:taxonomyMulti="true" ma:sspId="335d02d2-2acc-434b-b7bb-812ff22cbf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4e51cf-cfdd-4a8e-a169-534b8633fbc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c6b1e9e-0532-4ed0-9a35-8404d761b866}" ma:internalName="TaxCatchAll" ma:showField="CatchAllData" ma:web="624e51cf-cfdd-4a8e-a169-534b8633fb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193883-9DEF-4394-A746-8B0504B231C0}">
  <ds:schemaRefs>
    <ds:schemaRef ds:uri="http://schemas.microsoft.com/office/2006/documentManagement/types"/>
    <ds:schemaRef ds:uri="http://schemas.microsoft.com/office/infopath/2007/PartnerControls"/>
    <ds:schemaRef ds:uri="25f5c1ff-a3c5-44dd-9db4-c2b03110b401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  <ds:schemaRef ds:uri="624e51cf-cfdd-4a8e-a169-534b8633fbc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8795B8F-9E37-4A75-88FA-BB4D3802E3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f5c1ff-a3c5-44dd-9db4-c2b03110b401"/>
    <ds:schemaRef ds:uri="624e51cf-cfdd-4a8e-a169-534b8633fb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C375B81-FBF5-4924-A5E0-F0376D8E7D5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741da7a-79c1-417c-b408-16c0bfe99fca}" enabled="1" method="Standard" siteId="{1e355c04-e0a4-42ed-8e2d-7351591f0ef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antar template master</Template>
  <TotalTime>12</TotalTime>
  <Words>584</Words>
  <Application>Microsoft Office PowerPoint</Application>
  <PresentationFormat>Panorámica</PresentationFormat>
  <Paragraphs>72</Paragraphs>
  <Slides>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7" baseType="lpstr">
      <vt:lpstr>Arial</vt:lpstr>
      <vt:lpstr>Calibri</vt:lpstr>
      <vt:lpstr>Cambria Math</vt:lpstr>
      <vt:lpstr>Kantar Brown</vt:lpstr>
      <vt:lpstr>Kantar Brown Light</vt:lpstr>
      <vt:lpstr>Kantar template master</vt:lpstr>
      <vt:lpstr>2_Kantar template master</vt:lpstr>
      <vt:lpstr>8_Kantar template master</vt:lpstr>
      <vt:lpstr>3_Kantar template master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racia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Sub-heading</dc:subject>
  <dc:creator>maykel nunes</dc:creator>
  <cp:keywords>Project reference</cp:keywords>
  <dc:description>Date</dc:description>
  <cp:lastModifiedBy>Gilberto Nava</cp:lastModifiedBy>
  <cp:revision>12</cp:revision>
  <cp:lastPrinted>2017-03-24T13:40:26Z</cp:lastPrinted>
  <dcterms:created xsi:type="dcterms:W3CDTF">2025-05-24T17:04:05Z</dcterms:created>
  <dcterms:modified xsi:type="dcterms:W3CDTF">2025-07-04T18:4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6703363BD98846A62F9898DE8EBB35</vt:lpwstr>
  </property>
  <property fmtid="{D5CDD505-2E9C-101B-9397-08002B2CF9AE}" pid="3" name="MSIP_Label_3741da7a-79c1-417c-b408-16c0bfe99fca_Enabled">
    <vt:lpwstr>true</vt:lpwstr>
  </property>
  <property fmtid="{D5CDD505-2E9C-101B-9397-08002B2CF9AE}" pid="4" name="MSIP_Label_3741da7a-79c1-417c-b408-16c0bfe99fca_SetDate">
    <vt:lpwstr>2023-06-01T08:02:15Z</vt:lpwstr>
  </property>
  <property fmtid="{D5CDD505-2E9C-101B-9397-08002B2CF9AE}" pid="5" name="MSIP_Label_3741da7a-79c1-417c-b408-16c0bfe99fca_Method">
    <vt:lpwstr>Standard</vt:lpwstr>
  </property>
  <property fmtid="{D5CDD505-2E9C-101B-9397-08002B2CF9AE}" pid="6" name="MSIP_Label_3741da7a-79c1-417c-b408-16c0bfe99fca_Name">
    <vt:lpwstr>Internal Only - Amber</vt:lpwstr>
  </property>
  <property fmtid="{D5CDD505-2E9C-101B-9397-08002B2CF9AE}" pid="7" name="MSIP_Label_3741da7a-79c1-417c-b408-16c0bfe99fca_SiteId">
    <vt:lpwstr>1e355c04-e0a4-42ed-8e2d-7351591f0ef1</vt:lpwstr>
  </property>
  <property fmtid="{D5CDD505-2E9C-101B-9397-08002B2CF9AE}" pid="8" name="MSIP_Label_3741da7a-79c1-417c-b408-16c0bfe99fca_ActionId">
    <vt:lpwstr>120dd1a1-0079-431a-af79-6bc5509a19aa</vt:lpwstr>
  </property>
  <property fmtid="{D5CDD505-2E9C-101B-9397-08002B2CF9AE}" pid="9" name="MSIP_Label_3741da7a-79c1-417c-b408-16c0bfe99fca_ContentBits">
    <vt:lpwstr>0</vt:lpwstr>
  </property>
  <property fmtid="{D5CDD505-2E9C-101B-9397-08002B2CF9AE}" pid="10" name="MediaServiceImageTags">
    <vt:lpwstr/>
  </property>
</Properties>
</file>